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6"/>
    <p:sldMasterId id="2147483798" r:id="rId7"/>
    <p:sldMasterId id="2147483813" r:id="rId8"/>
    <p:sldMasterId id="2147483825" r:id="rId9"/>
    <p:sldMasterId id="2147483833" r:id="rId10"/>
    <p:sldMasterId id="2147483842" r:id="rId11"/>
    <p:sldMasterId id="2147483862" r:id="rId12"/>
  </p:sldMasterIdLst>
  <p:notesMasterIdLst>
    <p:notesMasterId r:id="rId41"/>
  </p:notesMasterIdLst>
  <p:handoutMasterIdLst>
    <p:handoutMasterId r:id="rId42"/>
  </p:handoutMasterIdLst>
  <p:sldIdLst>
    <p:sldId id="311" r:id="rId13"/>
    <p:sldId id="524" r:id="rId14"/>
    <p:sldId id="548" r:id="rId15"/>
    <p:sldId id="549" r:id="rId16"/>
    <p:sldId id="556" r:id="rId17"/>
    <p:sldId id="563" r:id="rId18"/>
    <p:sldId id="562" r:id="rId19"/>
    <p:sldId id="557" r:id="rId20"/>
    <p:sldId id="558" r:id="rId21"/>
    <p:sldId id="559" r:id="rId22"/>
    <p:sldId id="560" r:id="rId23"/>
    <p:sldId id="561" r:id="rId24"/>
    <p:sldId id="547" r:id="rId25"/>
    <p:sldId id="536" r:id="rId26"/>
    <p:sldId id="538" r:id="rId27"/>
    <p:sldId id="540" r:id="rId28"/>
    <p:sldId id="542" r:id="rId29"/>
    <p:sldId id="544" r:id="rId30"/>
    <p:sldId id="564" r:id="rId31"/>
    <p:sldId id="565" r:id="rId32"/>
    <p:sldId id="545" r:id="rId33"/>
    <p:sldId id="546" r:id="rId34"/>
    <p:sldId id="550" r:id="rId35"/>
    <p:sldId id="552" r:id="rId36"/>
    <p:sldId id="551" r:id="rId37"/>
    <p:sldId id="553" r:id="rId38"/>
    <p:sldId id="554" r:id="rId39"/>
    <p:sldId id="555" r:id="rId40"/>
  </p:sldIdLst>
  <p:sldSz cx="9144000" cy="5143500" type="screen16x9"/>
  <p:notesSz cx="7023100" cy="9309100"/>
  <p:custDataLst>
    <p:tags r:id="rId43"/>
  </p:custDataLst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92"/>
    <a:srgbClr val="000000"/>
    <a:srgbClr val="68717A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FE6E2F-7250-8BF1-8385-3143F77EB6DD}" v="1" dt="2022-02-01T12:41:34.791"/>
    <p1510:client id="{08419A2C-C348-3F46-EFCC-CEE52EDED744}" v="2" dt="2022-04-04T07:39:24.650"/>
    <p1510:client id="{08DE1EFA-183C-B17E-E1BA-96C709C145B7}" v="1" dt="2022-07-26T11:28:53.871"/>
    <p1510:client id="{1116A5B0-1154-5253-9AF2-6CBEA3F654AA}" v="2" dt="2022-02-01T11:08:04.586"/>
    <p1510:client id="{1128EAE4-E972-27D8-85A6-EE3BB6B7025B}" v="1" dt="2022-02-02T12:24:01.328"/>
    <p1510:client id="{1136A33E-780C-73CF-F1A4-C967729A8F7C}" v="1" dt="2022-02-04T10:34:18.136"/>
    <p1510:client id="{12F37724-BBF6-43E8-8A19-28CEDAE613CE}" v="2" dt="2022-02-03T08:29:03.555"/>
    <p1510:client id="{282B33AD-4ECE-C509-53B0-177BD7E6508A}" v="3" dt="2022-10-19T13:00:15.502"/>
    <p1510:client id="{37BBC0A9-9E2F-F272-301A-93F37BC3C4B5}" v="2" dt="2022-07-26T12:17:00.742"/>
    <p1510:client id="{41E6E7D5-4FA2-FFA3-5793-A12DF7D211A6}" v="2" dt="2021-08-11T13:58:25.925"/>
    <p1510:client id="{42F0E9FF-4729-CAA4-4165-A6CD5DFC4803}" v="1" dt="2022-02-01T01:35:19.531"/>
    <p1510:client id="{448E29DF-B9A7-CFC3-996B-0FF12C4D4C40}" v="1" dt="2021-10-04T11:57:21.931"/>
    <p1510:client id="{5627FE10-DF9B-D4EE-E8CC-4501898E430E}" v="2" dt="2022-07-25T13:20:23.198"/>
    <p1510:client id="{60CB69A1-E64E-0E9D-30E0-D33F07463FAC}" v="22" dt="2022-10-10T12:49:11.186"/>
    <p1510:client id="{63CD1219-8124-90EF-34FD-C5A87DB3F767}" v="4" dt="2022-01-31T11:08:01.928"/>
    <p1510:client id="{67FB472A-3446-4852-EBB6-AED4B7FFE4FC}" v="6" dt="2022-02-01T12:40:47.722"/>
    <p1510:client id="{6F7B9682-F99A-B159-655D-69765F9A81F5}" v="2" dt="2022-01-31T15:07:53.175"/>
    <p1510:client id="{728CC55E-FA6E-0173-9FEA-9C0EEC1B6A30}" v="2" dt="2022-02-07T14:55:48.718"/>
    <p1510:client id="{838584D0-E3FF-D331-56E0-E0E38480403E}" v="1" dt="2022-02-04T21:18:23.304"/>
    <p1510:client id="{96389139-F0CF-5994-622F-51AD1AC8E355}" v="2" dt="2022-05-23T13:30:53.230"/>
    <p1510:client id="{B1EE3D28-4459-B1E2-DCC8-8A43FACF597D}" v="1" dt="2021-09-15T08:04:15.736"/>
    <p1510:client id="{B3120E71-EB4B-148B-8CE0-85A3D9CD1146}" v="1" dt="2022-02-08T13:24:45.224"/>
    <p1510:client id="{B6B6C013-90C0-FEF5-F1F6-7B18706E203A}" v="1" dt="2021-09-16T08:08:16.161"/>
    <p1510:client id="{BAD7BFF4-B27A-4808-921F-04EA776D3A2F}" v="6" dt="2022-07-28T18:42:05.638"/>
    <p1510:client id="{BF57D317-C1BD-5EDF-3C44-47A4722F4113}" v="10" dt="2022-02-05T08:52:36.121"/>
    <p1510:client id="{C7849DF4-247E-6279-95E1-6C3623AE7630}" v="2" dt="2021-10-06T11:18:54.095"/>
    <p1510:client id="{E5475F82-FF77-967A-40E8-FCAE5D6B374E}" v="8" dt="2022-01-31T11:49:10.205"/>
    <p1510:client id="{F33B8328-9CBC-5556-E015-C7552D99D36F}" v="1" dt="2022-01-31T11:49:35.081"/>
    <p1510:client id="{FA406E9E-ACEE-4DD7-0E79-FAF49DF14045}" v="7" dt="2021-09-14T08:21:52.58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408" autoAdjust="0"/>
  </p:normalViewPr>
  <p:slideViewPr>
    <p:cSldViewPr snapToGrid="0">
      <p:cViewPr varScale="1">
        <p:scale>
          <a:sx n="83" d="100"/>
          <a:sy n="83" d="100"/>
        </p:scale>
        <p:origin x="824" y="5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570" y="9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3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theme" Target="theme/theme1.xml"/><Relationship Id="rId20" Type="http://schemas.openxmlformats.org/officeDocument/2006/relationships/slide" Target="slides/slide8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11/1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11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548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831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8072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769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3238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6262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5682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3027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1716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4172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396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796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5922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978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5031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85818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9350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4941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4812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456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768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791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925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7998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1863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189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071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7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31698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59526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9458060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497819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975027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201587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1611313" y="4795567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86591989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2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417513" y="63500"/>
            <a:ext cx="71596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1400">
                <a:solidFill>
                  <a:srgbClr val="808080"/>
                </a:solidFill>
                <a:latin typeface="Nokia Pure Text Light" panose="020B0304040602060303" pitchFamily="34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417513" y="555625"/>
            <a:ext cx="8229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Nokia Pure Text Light"/>
                <a:ea typeface="ＭＳ Ｐゴシック"/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417513" y="4270375"/>
            <a:ext cx="8229600" cy="334963"/>
            <a:chOff x="417513" y="4270533"/>
            <a:chExt cx="8229600" cy="33493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417513" y="4270533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124191"/>
                  </a:solidFill>
                  <a:latin typeface="Nokia Pure Text Light"/>
                  <a:ea typeface="ＭＳ Ｐゴシック"/>
                </a:rPr>
                <a:t>1 Footnote</a:t>
              </a: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417513" y="4451494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57200" indent="-4572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sz="10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398588"/>
            <a:ext cx="4391025" cy="512762"/>
            <a:chOff x="915" y="609"/>
            <a:chExt cx="2686" cy="421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b="1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Title</a:t>
              </a:r>
            </a:p>
            <a:p>
              <a:pPr>
                <a:defRPr/>
              </a:pPr>
              <a:r>
                <a:rPr lang="en-US" altLang="en-US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Unit of measure</a:t>
              </a:r>
            </a:p>
          </p:txBody>
        </p:sp>
      </p:grpSp>
      <p:pic>
        <p:nvPicPr>
          <p:cNvPr id="12" name="Picture 1"/>
          <p:cNvPicPr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1675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1439863" y="4692650"/>
            <a:ext cx="6078537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pt-BR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© Nokia 2017            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24"/>
          <p:cNvSpPr txBox="1">
            <a:spLocks noChangeArrowheads="1"/>
          </p:cNvSpPr>
          <p:nvPr/>
        </p:nvSpPr>
        <p:spPr bwMode="auto">
          <a:xfrm>
            <a:off x="417513" y="4837113"/>
            <a:ext cx="60785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Nokia</a:t>
            </a:r>
            <a:r>
              <a:rPr lang="en-GB" altLang="en-US" sz="800" baseline="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 internal use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7883525" y="322263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575550" y="322263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732713" y="322263"/>
            <a:ext cx="914400" cy="212725"/>
            <a:chOff x="7826359" y="285750"/>
            <a:chExt cx="914416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826359" y="285750"/>
              <a:ext cx="91441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82635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826359" y="498116"/>
              <a:ext cx="914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7816850" y="322263"/>
            <a:ext cx="830263" cy="1308100"/>
            <a:chOff x="6655594" y="273840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25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0829"/>
              <a:ext cx="509690" cy="18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134"/>
              <a:ext cx="509690" cy="185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85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74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</p:grpSp>
      <p:grpSp>
        <p:nvGrpSpPr>
          <p:cNvPr id="56" name="McK Moon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7872413" y="360363"/>
            <a:ext cx="209550" cy="209550"/>
            <a:chOff x="1600" y="1600"/>
            <a:chExt cx="160" cy="160"/>
          </a:xfrm>
        </p:grpSpPr>
        <p:sp>
          <p:nvSpPr>
            <p:cNvPr id="57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  <p:sp>
          <p:nvSpPr>
            <p:cNvPr id="58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</p:grpSp>
      <p:sp>
        <p:nvSpPr>
          <p:cNvPr id="59" name="TextBox 77"/>
          <p:cNvSpPr txBox="1">
            <a:spLocks noChangeArrowheads="1"/>
          </p:cNvSpPr>
          <p:nvPr userDrawn="1"/>
        </p:nvSpPr>
        <p:spPr bwMode="auto">
          <a:xfrm>
            <a:off x="417513" y="4976813"/>
            <a:ext cx="85677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The proposed transaction is subject to approval by Nokia’s shareholders, completion of relevant works council consultations, receipt of regulatory approvals and other customary conditions.</a:t>
            </a: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 bwMode="auto">
          <a:xfrm>
            <a:off x="417513" y="4692650"/>
            <a:ext cx="117475" cy="12382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A0FF432-A781-4EE0-9364-1D65851F86D1}" type="slidenum">
              <a:rPr lang="en-US" sz="800" smtClean="0">
                <a:solidFill>
                  <a:srgbClr val="124191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 sz="800" dirty="0">
              <a:solidFill>
                <a:srgbClr val="124191"/>
              </a:solidFill>
              <a:ea typeface="ＭＳ Ｐゴシック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" name="Date Placeholder 3"/>
          <p:cNvSpPr>
            <a:spLocks noGrp="1"/>
          </p:cNvSpPr>
          <p:nvPr>
            <p:ph type="dt" sz="half" idx="10"/>
          </p:nvPr>
        </p:nvSpPr>
        <p:spPr>
          <a:xfrm>
            <a:off x="722313" y="4692650"/>
            <a:ext cx="512762" cy="123825"/>
          </a:xfrm>
          <a:prstGeom prst="rect">
            <a:avLst/>
          </a:prstGeom>
        </p:spPr>
        <p:txBody>
          <a:bodyPr/>
          <a:lstStyle>
            <a:lvl1pPr>
              <a:defRPr lang="en-US" sz="800"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313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30974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D9599-6980-4011-8D9E-61D4CF48A4F3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| </a:t>
            </a:r>
            <a:r>
              <a:rPr lang="fr-FR" altLang="zh-CN"/>
              <a:t>Presentation Title | Month 2006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1839663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15122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039459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307188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8489722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15_BBE_title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8518" cy="514350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0566" y="288182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kia Pure Headline Light"/>
                <a:cs typeface="Nokia Pure Headline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881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11431" y="0"/>
            <a:ext cx="4536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535214" y="1070370"/>
            <a:ext cx="3719286" cy="3320201"/>
          </a:xfrm>
        </p:spPr>
        <p:txBody>
          <a:bodyPr/>
          <a:lstStyle>
            <a:lvl1pPr marL="0" indent="0">
              <a:buFont typeface="Arial"/>
              <a:buNone/>
              <a:defRPr sz="3200">
                <a:solidFill>
                  <a:srgbClr val="124191"/>
                </a:solidFill>
                <a:latin typeface="+mj-lt"/>
              </a:defRPr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5214" y="288178"/>
            <a:ext cx="3737429" cy="337751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361213" y="1133474"/>
            <a:ext cx="3165929" cy="32752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</p:spPr>
        <p:txBody>
          <a:bodyPr/>
          <a:lstStyle/>
          <a:p>
            <a:pPr algn="l"/>
            <a:r>
              <a:rPr lang="en-US" noProof="0">
                <a:solidFill>
                  <a:schemeClr val="bg2"/>
                </a:solidFill>
                <a:cs typeface="Arial" charset="0"/>
              </a:rPr>
              <a:t>NGMN Conference</a:t>
            </a:r>
            <a:endParaRPr lang="en-US" noProof="0" dirty="0">
              <a:solidFill>
                <a:schemeClr val="bg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464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21060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254061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651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37" name="Rechteck 36"/>
          <p:cNvSpPr/>
          <p:nvPr userDrawn="1"/>
        </p:nvSpPr>
        <p:spPr bwMode="auto">
          <a:xfrm flipV="1">
            <a:off x="827584" y="4047914"/>
            <a:ext cx="6192341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 flipV="1">
            <a:off x="431800" y="4047914"/>
            <a:ext cx="360000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33844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 years</a:t>
            </a:r>
          </a:p>
        </p:txBody>
      </p:sp>
      <p:sp>
        <p:nvSpPr>
          <p:cNvPr id="11" name="Rechteck 97"/>
          <p:cNvSpPr/>
          <p:nvPr/>
        </p:nvSpPr>
        <p:spPr>
          <a:xfrm>
            <a:off x="2176871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0 M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2" name="Rechteck 97"/>
          <p:cNvSpPr/>
          <p:nvPr/>
        </p:nvSpPr>
        <p:spPr>
          <a:xfrm>
            <a:off x="4575468" y="4263913"/>
            <a:ext cx="609816" cy="144001"/>
          </a:xfrm>
          <a:prstGeom prst="rect">
            <a:avLst/>
          </a:prstGeom>
          <a:noFill/>
        </p:spPr>
        <p:txBody>
          <a:bodyPr wrap="non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-100 </a:t>
            </a: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x</a:t>
            </a:r>
          </a:p>
        </p:txBody>
      </p:sp>
      <p:sp>
        <p:nvSpPr>
          <p:cNvPr id="13" name="Rechteck 97"/>
          <p:cNvSpPr/>
          <p:nvPr/>
        </p:nvSpPr>
        <p:spPr>
          <a:xfrm>
            <a:off x="919055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,000 x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4" name="Rechteck 97"/>
          <p:cNvSpPr/>
          <p:nvPr/>
        </p:nvSpPr>
        <p:spPr>
          <a:xfrm>
            <a:off x="561836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ultra low</a:t>
            </a:r>
          </a:p>
        </p:txBody>
      </p:sp>
      <p:sp>
        <p:nvSpPr>
          <p:cNvPr id="15" name="Rechteck 97"/>
          <p:cNvSpPr/>
          <p:nvPr/>
        </p:nvSpPr>
        <p:spPr>
          <a:xfrm>
            <a:off x="1527066" y="4263913"/>
            <a:ext cx="609816" cy="144575"/>
          </a:xfrm>
          <a:prstGeom prst="rect">
            <a:avLst/>
          </a:prstGeom>
          <a:noFill/>
        </p:spPr>
        <p:txBody>
          <a:bodyPr wrap="none" lIns="0" tIns="36000" rIns="0" bIns="3600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gt;10 G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6" name="Rechteck 97"/>
          <p:cNvSpPr/>
          <p:nvPr/>
        </p:nvSpPr>
        <p:spPr>
          <a:xfrm>
            <a:off x="3314112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lt;1 m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286535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51820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9" name="Rad 4"/>
          <p:cNvSpPr>
            <a:spLocks noChangeAspect="1"/>
          </p:cNvSpPr>
          <p:nvPr userDrawn="1"/>
        </p:nvSpPr>
        <p:spPr>
          <a:xfrm flipH="1">
            <a:off x="3732880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20" name="Abgerundetes Rechteck 9"/>
          <p:cNvSpPr>
            <a:spLocks noChangeAspect="1"/>
          </p:cNvSpPr>
          <p:nvPr userDrawn="1"/>
        </p:nvSpPr>
        <p:spPr>
          <a:xfrm flipH="1">
            <a:off x="2849762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21" name="Abgerundetes Rechteck 4"/>
          <p:cNvSpPr>
            <a:spLocks noChangeAspect="1"/>
          </p:cNvSpPr>
          <p:nvPr userDrawn="1"/>
        </p:nvSpPr>
        <p:spPr>
          <a:xfrm>
            <a:off x="4673468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2" name="Freeform 105"/>
          <p:cNvSpPr>
            <a:spLocks/>
          </p:cNvSpPr>
          <p:nvPr userDrawn="1"/>
        </p:nvSpPr>
        <p:spPr bwMode="auto">
          <a:xfrm>
            <a:off x="3427758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3" name="Trapezoid 6"/>
          <p:cNvSpPr>
            <a:spLocks noChangeAspect="1"/>
          </p:cNvSpPr>
          <p:nvPr userDrawn="1"/>
        </p:nvSpPr>
        <p:spPr>
          <a:xfrm>
            <a:off x="4990601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4" name="Ellipse 6"/>
          <p:cNvSpPr>
            <a:spLocks noChangeAspect="1"/>
          </p:cNvSpPr>
          <p:nvPr userDrawn="1"/>
        </p:nvSpPr>
        <p:spPr>
          <a:xfrm>
            <a:off x="5543903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5" name="Abgerundetes Rechteck 19"/>
          <p:cNvSpPr>
            <a:spLocks noChangeAspect="1"/>
          </p:cNvSpPr>
          <p:nvPr userDrawn="1"/>
        </p:nvSpPr>
        <p:spPr>
          <a:xfrm>
            <a:off x="5858991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6" name="Abgerundetes Rechteck 19"/>
          <p:cNvSpPr>
            <a:spLocks noChangeAspect="1"/>
          </p:cNvSpPr>
          <p:nvPr userDrawn="1"/>
        </p:nvSpPr>
        <p:spPr>
          <a:xfrm>
            <a:off x="4127567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ad 444"/>
          <p:cNvSpPr/>
          <p:nvPr userDrawn="1"/>
        </p:nvSpPr>
        <p:spPr>
          <a:xfrm>
            <a:off x="1721882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Freeform 3011"/>
          <p:cNvSpPr>
            <a:spLocks noChangeAspect="1"/>
          </p:cNvSpPr>
          <p:nvPr userDrawn="1"/>
        </p:nvSpPr>
        <p:spPr bwMode="auto">
          <a:xfrm>
            <a:off x="6199420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Rechteck 15"/>
          <p:cNvSpPr>
            <a:spLocks noChangeAspect="1"/>
          </p:cNvSpPr>
          <p:nvPr userDrawn="1"/>
        </p:nvSpPr>
        <p:spPr>
          <a:xfrm>
            <a:off x="1151620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30" name="Abgerundetes Rechteck 20"/>
          <p:cNvSpPr>
            <a:spLocks noChangeAspect="1"/>
          </p:cNvSpPr>
          <p:nvPr userDrawn="1"/>
        </p:nvSpPr>
        <p:spPr>
          <a:xfrm>
            <a:off x="2441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33" name="Freeform 8">
            <a:hlinkClick r:id="" action="ppaction://noaction"/>
          </p:cNvPr>
          <p:cNvSpPr>
            <a:spLocks/>
          </p:cNvSpPr>
          <p:nvPr userDrawn="1"/>
        </p:nvSpPr>
        <p:spPr bwMode="auto">
          <a:xfrm>
            <a:off x="456719" y="4101914"/>
            <a:ext cx="310162" cy="252000"/>
          </a:xfrm>
          <a:custGeom>
            <a:avLst/>
            <a:gdLst/>
            <a:ahLst/>
            <a:cxnLst/>
            <a:rect l="l" t="t" r="r" b="b"/>
            <a:pathLst>
              <a:path w="310162" h="252000">
                <a:moveTo>
                  <a:pt x="226760" y="137340"/>
                </a:moveTo>
                <a:cubicBezTo>
                  <a:pt x="234168" y="136229"/>
                  <a:pt x="242006" y="139315"/>
                  <a:pt x="246396" y="146009"/>
                </a:cubicBezTo>
                <a:cubicBezTo>
                  <a:pt x="246400" y="146014"/>
                  <a:pt x="246879" y="146725"/>
                  <a:pt x="307431" y="236380"/>
                </a:cubicBezTo>
                <a:cubicBezTo>
                  <a:pt x="313284" y="245027"/>
                  <a:pt x="309382" y="252000"/>
                  <a:pt x="299070" y="252000"/>
                </a:cubicBezTo>
                <a:cubicBezTo>
                  <a:pt x="299063" y="252000"/>
                  <a:pt x="298104" y="252000"/>
                  <a:pt x="176442" y="252000"/>
                </a:cubicBezTo>
                <a:cubicBezTo>
                  <a:pt x="166130" y="252000"/>
                  <a:pt x="157490" y="243354"/>
                  <a:pt x="157490" y="233033"/>
                </a:cubicBezTo>
                <a:cubicBezTo>
                  <a:pt x="157490" y="233028"/>
                  <a:pt x="157490" y="232671"/>
                  <a:pt x="157490" y="210192"/>
                </a:cubicBezTo>
                <a:cubicBezTo>
                  <a:pt x="183338" y="209081"/>
                  <a:pt x="203890" y="187717"/>
                  <a:pt x="203890" y="161551"/>
                </a:cubicBezTo>
                <a:cubicBezTo>
                  <a:pt x="203890" y="157686"/>
                  <a:pt x="203441" y="153926"/>
                  <a:pt x="202477" y="150346"/>
                </a:cubicBezTo>
                <a:lnTo>
                  <a:pt x="219640" y="139872"/>
                </a:lnTo>
                <a:cubicBezTo>
                  <a:pt x="221870" y="138548"/>
                  <a:pt x="224291" y="137711"/>
                  <a:pt x="226760" y="137340"/>
                </a:cubicBezTo>
                <a:close/>
                <a:moveTo>
                  <a:pt x="83121" y="137340"/>
                </a:moveTo>
                <a:cubicBezTo>
                  <a:pt x="85590" y="137711"/>
                  <a:pt x="88011" y="138548"/>
                  <a:pt x="90240" y="139872"/>
                </a:cubicBezTo>
                <a:cubicBezTo>
                  <a:pt x="90247" y="139876"/>
                  <a:pt x="90565" y="140068"/>
                  <a:pt x="107541" y="150327"/>
                </a:cubicBezTo>
                <a:cubicBezTo>
                  <a:pt x="106573" y="153912"/>
                  <a:pt x="106123" y="157679"/>
                  <a:pt x="106123" y="161551"/>
                </a:cubicBezTo>
                <a:cubicBezTo>
                  <a:pt x="106123" y="187100"/>
                  <a:pt x="125717" y="208071"/>
                  <a:pt x="150716" y="210009"/>
                </a:cubicBezTo>
                <a:lnTo>
                  <a:pt x="150716" y="233033"/>
                </a:lnTo>
                <a:cubicBezTo>
                  <a:pt x="150716" y="243354"/>
                  <a:pt x="142355" y="252000"/>
                  <a:pt x="131765" y="252000"/>
                </a:cubicBezTo>
                <a:cubicBezTo>
                  <a:pt x="131754" y="252000"/>
                  <a:pt x="130624" y="252000"/>
                  <a:pt x="11093" y="252000"/>
                </a:cubicBezTo>
                <a:cubicBezTo>
                  <a:pt x="781" y="252000"/>
                  <a:pt x="-3121" y="245027"/>
                  <a:pt x="2732" y="236380"/>
                </a:cubicBezTo>
                <a:cubicBezTo>
                  <a:pt x="2737" y="236372"/>
                  <a:pt x="3301" y="235533"/>
                  <a:pt x="63486" y="146009"/>
                </a:cubicBezTo>
                <a:cubicBezTo>
                  <a:pt x="67876" y="139315"/>
                  <a:pt x="75714" y="136229"/>
                  <a:pt x="83121" y="137340"/>
                </a:cubicBezTo>
                <a:close/>
                <a:moveTo>
                  <a:pt x="154867" y="0"/>
                </a:moveTo>
                <a:cubicBezTo>
                  <a:pt x="158700" y="0"/>
                  <a:pt x="162532" y="2534"/>
                  <a:pt x="165459" y="7602"/>
                </a:cubicBezTo>
                <a:cubicBezTo>
                  <a:pt x="165463" y="7610"/>
                  <a:pt x="165987" y="8521"/>
                  <a:pt x="221481" y="105034"/>
                </a:cubicBezTo>
                <a:cubicBezTo>
                  <a:pt x="227334" y="115169"/>
                  <a:pt x="224826" y="128575"/>
                  <a:pt x="215907" y="134787"/>
                </a:cubicBezTo>
                <a:cubicBezTo>
                  <a:pt x="215897" y="134794"/>
                  <a:pt x="215533" y="135053"/>
                  <a:pt x="200950" y="145424"/>
                </a:cubicBezTo>
                <a:cubicBezTo>
                  <a:pt x="194462" y="126313"/>
                  <a:pt x="176329" y="112660"/>
                  <a:pt x="155007" y="112660"/>
                </a:cubicBezTo>
                <a:cubicBezTo>
                  <a:pt x="133685" y="112660"/>
                  <a:pt x="115551" y="126313"/>
                  <a:pt x="109064" y="145424"/>
                </a:cubicBezTo>
                <a:lnTo>
                  <a:pt x="94107" y="134787"/>
                </a:lnTo>
                <a:cubicBezTo>
                  <a:pt x="85188" y="128575"/>
                  <a:pt x="82679" y="115169"/>
                  <a:pt x="88532" y="105034"/>
                </a:cubicBezTo>
                <a:cubicBezTo>
                  <a:pt x="88537" y="105025"/>
                  <a:pt x="89059" y="104113"/>
                  <a:pt x="144276" y="7602"/>
                </a:cubicBezTo>
                <a:cubicBezTo>
                  <a:pt x="147203" y="2534"/>
                  <a:pt x="151035" y="0"/>
                  <a:pt x="1548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prstDash val="dash"/>
          </a:ln>
          <a:effectLst/>
        </p:spPr>
        <p:txBody>
          <a:bodyPr lIns="71424" tIns="37140" rIns="71424" bIns="37140" anchor="ctr"/>
          <a:lstStyle/>
          <a:p>
            <a:pPr algn="ctr" defTabSz="604723">
              <a:lnSpc>
                <a:spcPct val="90000"/>
              </a:lnSpc>
            </a:pPr>
            <a:endParaRPr lang="en-US" sz="1300">
              <a:solidFill>
                <a:srgbClr val="BEC8D2"/>
              </a:solidFill>
              <a:latin typeface="Nokia Pure Text Light"/>
            </a:endParaRPr>
          </a:p>
        </p:txBody>
      </p:sp>
      <p:sp>
        <p:nvSpPr>
          <p:cNvPr id="35" name="Abgerundetes Rechteck 40"/>
          <p:cNvSpPr>
            <a:spLocks noChangeAspect="1"/>
          </p:cNvSpPr>
          <p:nvPr userDrawn="1"/>
        </p:nvSpPr>
        <p:spPr>
          <a:xfrm>
            <a:off x="6588224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73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016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842965"/>
            <a:ext cx="9144000" cy="356552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Ellipse 6"/>
          <p:cNvSpPr/>
          <p:nvPr userDrawn="1"/>
        </p:nvSpPr>
        <p:spPr>
          <a:xfrm>
            <a:off x="432000" y="842964"/>
            <a:ext cx="8279598" cy="3565525"/>
          </a:xfrm>
          <a:custGeom>
            <a:avLst/>
            <a:gdLst/>
            <a:ahLst/>
            <a:cxnLst/>
            <a:rect l="l" t="t" r="r" b="b"/>
            <a:pathLst>
              <a:path w="8279598" h="3565525">
                <a:moveTo>
                  <a:pt x="4139799" y="320473"/>
                </a:moveTo>
                <a:cubicBezTo>
                  <a:pt x="3362605" y="320473"/>
                  <a:pt x="2732564" y="950514"/>
                  <a:pt x="2732564" y="1727708"/>
                </a:cubicBezTo>
                <a:cubicBezTo>
                  <a:pt x="2732564" y="2504902"/>
                  <a:pt x="3362605" y="3134943"/>
                  <a:pt x="4139799" y="3134943"/>
                </a:cubicBezTo>
                <a:cubicBezTo>
                  <a:pt x="4916993" y="3134943"/>
                  <a:pt x="5547034" y="2504902"/>
                  <a:pt x="5547034" y="1727708"/>
                </a:cubicBezTo>
                <a:cubicBezTo>
                  <a:pt x="5547034" y="950514"/>
                  <a:pt x="4916993" y="320473"/>
                  <a:pt x="4139799" y="320473"/>
                </a:cubicBezTo>
                <a:close/>
                <a:moveTo>
                  <a:pt x="402663" y="0"/>
                </a:moveTo>
                <a:lnTo>
                  <a:pt x="7876935" y="0"/>
                </a:lnTo>
                <a:cubicBezTo>
                  <a:pt x="8135169" y="539733"/>
                  <a:pt x="8279598" y="1144231"/>
                  <a:pt x="8279598" y="1782463"/>
                </a:cubicBezTo>
                <a:cubicBezTo>
                  <a:pt x="8279598" y="2420929"/>
                  <a:pt x="8135064" y="3025636"/>
                  <a:pt x="7876664" y="3565525"/>
                </a:cubicBezTo>
                <a:lnTo>
                  <a:pt x="402934" y="3565525"/>
                </a:lnTo>
                <a:cubicBezTo>
                  <a:pt x="144535" y="3025636"/>
                  <a:pt x="0" y="2420929"/>
                  <a:pt x="0" y="1782463"/>
                </a:cubicBezTo>
                <a:cubicBezTo>
                  <a:pt x="0" y="1144231"/>
                  <a:pt x="144429" y="539733"/>
                  <a:pt x="402663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7" name="Kreis 42"/>
          <p:cNvSpPr/>
          <p:nvPr userDrawn="1"/>
        </p:nvSpPr>
        <p:spPr>
          <a:xfrm>
            <a:off x="647540" y="842964"/>
            <a:ext cx="7820747" cy="3565525"/>
          </a:xfrm>
          <a:custGeom>
            <a:avLst/>
            <a:gdLst/>
            <a:ahLst/>
            <a:cxnLst/>
            <a:rect l="l" t="t" r="r" b="b"/>
            <a:pathLst>
              <a:path w="7820747" h="3565525">
                <a:moveTo>
                  <a:pt x="429298" y="0"/>
                </a:moveTo>
                <a:lnTo>
                  <a:pt x="7391763" y="0"/>
                </a:lnTo>
                <a:cubicBezTo>
                  <a:pt x="7651122" y="505499"/>
                  <a:pt x="7803791" y="1075686"/>
                  <a:pt x="7819421" y="1681629"/>
                </a:cubicBezTo>
                <a:cubicBezTo>
                  <a:pt x="7836912" y="2359709"/>
                  <a:pt x="7680714" y="3001920"/>
                  <a:pt x="7391117" y="3565525"/>
                </a:cubicBezTo>
                <a:lnTo>
                  <a:pt x="3956445" y="3565525"/>
                </a:lnTo>
                <a:lnTo>
                  <a:pt x="3945292" y="3133881"/>
                </a:lnTo>
                <a:cubicBezTo>
                  <a:pt x="4712796" y="3123537"/>
                  <a:pt x="5331494" y="2497875"/>
                  <a:pt x="5331494" y="1727708"/>
                </a:cubicBezTo>
                <a:cubicBezTo>
                  <a:pt x="5331494" y="950514"/>
                  <a:pt x="4701453" y="320473"/>
                  <a:pt x="3924259" y="320473"/>
                </a:cubicBezTo>
                <a:cubicBezTo>
                  <a:pt x="3147065" y="320473"/>
                  <a:pt x="2517024" y="950514"/>
                  <a:pt x="2517024" y="1727708"/>
                </a:cubicBezTo>
                <a:cubicBezTo>
                  <a:pt x="2517024" y="2504902"/>
                  <a:pt x="3147065" y="3134943"/>
                  <a:pt x="3924259" y="3134943"/>
                </a:cubicBezTo>
                <a:cubicBezTo>
                  <a:pt x="3931208" y="3134943"/>
                  <a:pt x="3938146" y="3134893"/>
                  <a:pt x="3945058" y="3133893"/>
                </a:cubicBezTo>
                <a:lnTo>
                  <a:pt x="3956136" y="3565525"/>
                </a:lnTo>
                <a:lnTo>
                  <a:pt x="429264" y="3565525"/>
                </a:lnTo>
                <a:cubicBezTo>
                  <a:pt x="169693" y="3059773"/>
                  <a:pt x="16904" y="2489260"/>
                  <a:pt x="1317" y="1882960"/>
                </a:cubicBezTo>
                <a:cubicBezTo>
                  <a:pt x="-16106" y="1205243"/>
                  <a:pt x="139971" y="563372"/>
                  <a:pt x="429298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9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2518074" y="320473"/>
                </a:moveTo>
                <a:cubicBezTo>
                  <a:pt x="1740880" y="320473"/>
                  <a:pt x="1110839" y="950514"/>
                  <a:pt x="1110839" y="1727708"/>
                </a:cubicBezTo>
                <a:cubicBezTo>
                  <a:pt x="1110839" y="2504902"/>
                  <a:pt x="1740880" y="3134943"/>
                  <a:pt x="2518074" y="3134943"/>
                </a:cubicBezTo>
                <a:cubicBezTo>
                  <a:pt x="3295268" y="3134943"/>
                  <a:pt x="3925309" y="2504902"/>
                  <a:pt x="3925309" y="1727708"/>
                </a:cubicBezTo>
                <a:cubicBezTo>
                  <a:pt x="3925309" y="950514"/>
                  <a:pt x="3295268" y="320473"/>
                  <a:pt x="2518074" y="320473"/>
                </a:cubicBezTo>
                <a:close/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8375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9" name="Rectangle 5"/>
          <p:cNvSpPr/>
          <p:nvPr userDrawn="1"/>
        </p:nvSpPr>
        <p:spPr>
          <a:xfrm>
            <a:off x="378000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545423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90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1" name="Rectangle 11"/>
          <p:cNvSpPr/>
          <p:nvPr userDrawn="1"/>
        </p:nvSpPr>
        <p:spPr>
          <a:xfrm>
            <a:off x="378000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Rectangle 12"/>
          <p:cNvSpPr/>
          <p:nvPr userDrawn="1"/>
        </p:nvSpPr>
        <p:spPr>
          <a:xfrm>
            <a:off x="545423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90000" bIns="90000" anchor="ctr"/>
          <a:lstStyle/>
          <a:p>
            <a:pPr algn="r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Rectangle 7"/>
          <p:cNvSpPr/>
          <p:nvPr userDrawn="1"/>
        </p:nvSpPr>
        <p:spPr>
          <a:xfrm>
            <a:off x="712846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712846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144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210577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144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GB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ectangle 9"/>
          <p:cNvSpPr/>
          <p:nvPr userDrawn="1"/>
        </p:nvSpPr>
        <p:spPr>
          <a:xfrm>
            <a:off x="210577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124191"/>
              </a:solidFill>
              <a:cs typeface="Arial" pitchFamily="34" charset="0"/>
            </a:endParaRPr>
          </a:p>
        </p:txBody>
      </p:sp>
      <p:sp>
        <p:nvSpPr>
          <p:cNvPr id="27" name="Rectangle 4"/>
          <p:cNvSpPr/>
          <p:nvPr userDrawn="1"/>
        </p:nvSpPr>
        <p:spPr>
          <a:xfrm>
            <a:off x="43154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ectangle 4"/>
          <p:cNvSpPr/>
          <p:nvPr userDrawn="1"/>
        </p:nvSpPr>
        <p:spPr>
          <a:xfrm>
            <a:off x="43154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432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27247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okia White 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5222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191197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041407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4643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013017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4662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00624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877963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057676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433155" y="842963"/>
            <a:ext cx="8280400" cy="35655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648" name="Ellipse 647"/>
          <p:cNvSpPr/>
          <p:nvPr userDrawn="1"/>
        </p:nvSpPr>
        <p:spPr>
          <a:xfrm>
            <a:off x="432000" y="848312"/>
            <a:ext cx="8175694" cy="3560176"/>
          </a:xfrm>
          <a:custGeom>
            <a:avLst/>
            <a:gdLst/>
            <a:ahLst/>
            <a:cxnLst/>
            <a:rect l="l" t="t" r="r" b="b"/>
            <a:pathLst>
              <a:path w="8175694" h="3560176">
                <a:moveTo>
                  <a:pt x="409070" y="0"/>
                </a:moveTo>
                <a:lnTo>
                  <a:pt x="7766624" y="0"/>
                </a:lnTo>
                <a:cubicBezTo>
                  <a:pt x="8028794" y="538970"/>
                  <a:pt x="8175694" y="1144279"/>
                  <a:pt x="8175694" y="1783897"/>
                </a:cubicBezTo>
                <a:cubicBezTo>
                  <a:pt x="8175694" y="2420472"/>
                  <a:pt x="8030189" y="3023062"/>
                  <a:pt x="7770526" y="3560176"/>
                </a:cubicBezTo>
                <a:lnTo>
                  <a:pt x="405168" y="3560176"/>
                </a:lnTo>
                <a:cubicBezTo>
                  <a:pt x="145505" y="3023062"/>
                  <a:pt x="0" y="2420472"/>
                  <a:pt x="0" y="1783897"/>
                </a:cubicBezTo>
                <a:cubicBezTo>
                  <a:pt x="0" y="1144279"/>
                  <a:pt x="146900" y="538970"/>
                  <a:pt x="409070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3" name="Ellipse 642"/>
          <p:cNvSpPr/>
          <p:nvPr userDrawn="1"/>
        </p:nvSpPr>
        <p:spPr>
          <a:xfrm>
            <a:off x="628166" y="280400"/>
            <a:ext cx="7783363" cy="4703618"/>
          </a:xfrm>
          <a:custGeom>
            <a:avLst/>
            <a:gdLst/>
            <a:ahLst/>
            <a:cxnLst/>
            <a:rect l="l" t="t" r="r" b="b"/>
            <a:pathLst>
              <a:path w="7783363" h="4703618">
                <a:moveTo>
                  <a:pt x="2351806" y="0"/>
                </a:moveTo>
                <a:cubicBezTo>
                  <a:pt x="2941384" y="0"/>
                  <a:pt x="3480291" y="216949"/>
                  <a:pt x="3891682" y="576946"/>
                </a:cubicBezTo>
                <a:cubicBezTo>
                  <a:pt x="4303073" y="216949"/>
                  <a:pt x="4841979" y="0"/>
                  <a:pt x="5431557" y="0"/>
                </a:cubicBezTo>
                <a:cubicBezTo>
                  <a:pt x="6730424" y="0"/>
                  <a:pt x="7783363" y="1052941"/>
                  <a:pt x="7783363" y="2351809"/>
                </a:cubicBezTo>
                <a:cubicBezTo>
                  <a:pt x="7783363" y="3650677"/>
                  <a:pt x="6730424" y="4703618"/>
                  <a:pt x="5431557" y="4703618"/>
                </a:cubicBezTo>
                <a:cubicBezTo>
                  <a:pt x="4841979" y="4703618"/>
                  <a:pt x="4303073" y="4486670"/>
                  <a:pt x="3891682" y="4126673"/>
                </a:cubicBezTo>
                <a:cubicBezTo>
                  <a:pt x="3480291" y="4486670"/>
                  <a:pt x="2941384" y="4703618"/>
                  <a:pt x="2351806" y="4703618"/>
                </a:cubicBezTo>
                <a:cubicBezTo>
                  <a:pt x="1052939" y="4703618"/>
                  <a:pt x="0" y="3650677"/>
                  <a:pt x="0" y="2351809"/>
                </a:cubicBezTo>
                <a:cubicBezTo>
                  <a:pt x="0" y="1052941"/>
                  <a:pt x="1052939" y="0"/>
                  <a:pt x="2351806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638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39" name="Ellipse 638"/>
          <p:cNvSpPr/>
          <p:nvPr userDrawn="1"/>
        </p:nvSpPr>
        <p:spPr>
          <a:xfrm flipH="1">
            <a:off x="4416754" y="2513498"/>
            <a:ext cx="310492" cy="244200"/>
          </a:xfrm>
          <a:prstGeom prst="ellipse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0" name="Ellipse 19"/>
          <p:cNvSpPr/>
          <p:nvPr userDrawn="1"/>
        </p:nvSpPr>
        <p:spPr>
          <a:xfrm flipH="1">
            <a:off x="3527978" y="1594144"/>
            <a:ext cx="2082610" cy="2082912"/>
          </a:xfrm>
          <a:custGeom>
            <a:avLst/>
            <a:gdLst/>
            <a:ahLst/>
            <a:cxnLst/>
            <a:rect l="l" t="t" r="r" b="b"/>
            <a:pathLst>
              <a:path w="2082610" h="2082912">
                <a:moveTo>
                  <a:pt x="1058406" y="0"/>
                </a:moveTo>
                <a:lnTo>
                  <a:pt x="1058406" y="340217"/>
                </a:lnTo>
                <a:cubicBezTo>
                  <a:pt x="1058406" y="350158"/>
                  <a:pt x="1050347" y="358217"/>
                  <a:pt x="1040406" y="358217"/>
                </a:cubicBezTo>
                <a:cubicBezTo>
                  <a:pt x="1030465" y="358217"/>
                  <a:pt x="1022406" y="350158"/>
                  <a:pt x="1022406" y="340217"/>
                </a:cubicBezTo>
                <a:lnTo>
                  <a:pt x="1022406" y="101"/>
                </a:lnTo>
                <a:cubicBezTo>
                  <a:pt x="461516" y="9307"/>
                  <a:pt x="8761" y="462394"/>
                  <a:pt x="0" y="1023454"/>
                </a:cubicBezTo>
                <a:lnTo>
                  <a:pt x="346260" y="1023454"/>
                </a:lnTo>
                <a:cubicBezTo>
                  <a:pt x="356201" y="1023454"/>
                  <a:pt x="364260" y="1031513"/>
                  <a:pt x="364260" y="1041454"/>
                </a:cubicBezTo>
                <a:cubicBezTo>
                  <a:pt x="364260" y="1051395"/>
                  <a:pt x="356201" y="1059454"/>
                  <a:pt x="346260" y="1059454"/>
                </a:cubicBezTo>
                <a:lnTo>
                  <a:pt x="10" y="1059454"/>
                </a:lnTo>
                <a:cubicBezTo>
                  <a:pt x="8767" y="1620516"/>
                  <a:pt x="461515" y="2073613"/>
                  <a:pt x="1022406" y="2082821"/>
                </a:cubicBezTo>
                <a:lnTo>
                  <a:pt x="1022406" y="1735592"/>
                </a:lnTo>
                <a:cubicBezTo>
                  <a:pt x="1022406" y="1725651"/>
                  <a:pt x="1030465" y="1717592"/>
                  <a:pt x="1040406" y="1717592"/>
                </a:cubicBezTo>
                <a:cubicBezTo>
                  <a:pt x="1050347" y="1717592"/>
                  <a:pt x="1058406" y="1725651"/>
                  <a:pt x="1058406" y="1735592"/>
                </a:cubicBezTo>
                <a:lnTo>
                  <a:pt x="1058406" y="2082912"/>
                </a:lnTo>
                <a:cubicBezTo>
                  <a:pt x="1620131" y="2074588"/>
                  <a:pt x="2073844" y="1621119"/>
                  <a:pt x="2082610" y="1059454"/>
                </a:cubicBezTo>
                <a:lnTo>
                  <a:pt x="1742482" y="1059454"/>
                </a:lnTo>
                <a:cubicBezTo>
                  <a:pt x="1732541" y="1059454"/>
                  <a:pt x="1724482" y="1051395"/>
                  <a:pt x="1724482" y="1041454"/>
                </a:cubicBezTo>
                <a:cubicBezTo>
                  <a:pt x="1724482" y="1031513"/>
                  <a:pt x="1732541" y="1023454"/>
                  <a:pt x="1742482" y="1023454"/>
                </a:cubicBezTo>
                <a:lnTo>
                  <a:pt x="2082610" y="1023454"/>
                </a:lnTo>
                <a:cubicBezTo>
                  <a:pt x="2073841" y="461791"/>
                  <a:pt x="1620130" y="8324"/>
                  <a:pt x="1058406" y="0"/>
                </a:cubicBezTo>
                <a:close/>
              </a:path>
            </a:pathLst>
          </a:custGeom>
          <a:gradFill flip="none" rotWithShape="1">
            <a:gsLst>
              <a:gs pos="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1" name="Rechteck 640">
            <a:hlinkClick r:id="" action="ppaction://hlinkshowjump?jump=previousslide"/>
          </p:cNvPr>
          <p:cNvSpPr/>
          <p:nvPr userDrawn="1"/>
        </p:nvSpPr>
        <p:spPr>
          <a:xfrm>
            <a:off x="1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42" name="Rechteck 641">
            <a:hlinkClick r:id="" action="ppaction://hlinkshowjump?jump=nextslide"/>
          </p:cNvPr>
          <p:cNvSpPr/>
          <p:nvPr userDrawn="1"/>
        </p:nvSpPr>
        <p:spPr>
          <a:xfrm>
            <a:off x="8784468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0"/>
            <a:ext cx="9144000" cy="842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7021279" y="3240376"/>
            <a:ext cx="1692276" cy="11681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</a:rPr>
              <a:t>Brooklyn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5G Summits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08616" y="552857"/>
            <a:ext cx="7227780" cy="4145738"/>
            <a:chOff x="827584" y="663478"/>
            <a:chExt cx="6842062" cy="3924496"/>
          </a:xfrm>
        </p:grpSpPr>
        <p:grpSp>
          <p:nvGrpSpPr>
            <p:cNvPr id="11" name="Gruppieren 10"/>
            <p:cNvGrpSpPr/>
            <p:nvPr userDrawn="1"/>
          </p:nvGrpSpPr>
          <p:grpSpPr>
            <a:xfrm>
              <a:off x="827584" y="663478"/>
              <a:ext cx="6842062" cy="3924496"/>
              <a:chOff x="1223628" y="1275606"/>
              <a:chExt cx="4643859" cy="2663639"/>
            </a:xfrm>
            <a:solidFill>
              <a:schemeClr val="bg1"/>
            </a:solidFill>
          </p:grpSpPr>
          <p:sp>
            <p:nvSpPr>
              <p:cNvPr id="12" name="Ellipse 11"/>
              <p:cNvSpPr/>
              <p:nvPr/>
            </p:nvSpPr>
            <p:spPr>
              <a:xfrm>
                <a:off x="122362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320384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 userDrawn="1"/>
          </p:nvGrpSpPr>
          <p:grpSpPr>
            <a:xfrm>
              <a:off x="1031428" y="1270113"/>
              <a:ext cx="6216263" cy="2921817"/>
              <a:chOff x="1802724" y="1270113"/>
              <a:chExt cx="5538554" cy="2603275"/>
            </a:xfrm>
            <a:solidFill>
              <a:schemeClr val="accent1">
                <a:alpha val="16000"/>
              </a:schemeClr>
            </a:solidFill>
          </p:grpSpPr>
          <p:grpSp>
            <p:nvGrpSpPr>
              <p:cNvPr id="22" name="Group 337"/>
              <p:cNvGrpSpPr>
                <a:grpSpLocks/>
              </p:cNvGrpSpPr>
              <p:nvPr/>
            </p:nvGrpSpPr>
            <p:grpSpPr bwMode="auto">
              <a:xfrm>
                <a:off x="2848300" y="2566931"/>
                <a:ext cx="840961" cy="1306457"/>
                <a:chOff x="2174876" y="3565526"/>
                <a:chExt cx="1246188" cy="1936750"/>
              </a:xfrm>
              <a:grpFill/>
            </p:grpSpPr>
            <p:sp>
              <p:nvSpPr>
                <p:cNvPr id="604" name="Freeform 108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5" name="Freeform 109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6" name="Freeform 118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7" name="Freeform 119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8" name="Freeform 120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9" name="Freeform 121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0" name="Freeform 122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1" name="Freeform 123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2" name="Freeform 124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3" name="Freeform 125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4" name="Freeform 126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5" name="Freeform 127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6" name="Freeform 128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7" name="Freeform 129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8" name="Freeform 130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9" name="Freeform 131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0" name="Freeform 132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1" name="Freeform 133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2" name="Freeform 134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3" name="Freeform 135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4" name="Freeform 136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5" name="Freeform 137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6" name="Freeform 138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7" name="Freeform 139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8" name="Freeform 140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9" name="Freeform 141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0" name="Freeform 142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1" name="Freeform 143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2" name="Freeform 144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3" name="Freeform 145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4" name="Freeform 146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5" name="Freeform 147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grpSp>
            <p:nvGrpSpPr>
              <p:cNvPr id="23" name="Group 338"/>
              <p:cNvGrpSpPr>
                <a:grpSpLocks/>
              </p:cNvGrpSpPr>
              <p:nvPr/>
            </p:nvGrpSpPr>
            <p:grpSpPr bwMode="auto">
              <a:xfrm>
                <a:off x="1802724" y="1270113"/>
                <a:ext cx="2381471" cy="1399622"/>
                <a:chOff x="625476" y="1643063"/>
                <a:chExt cx="3529013" cy="2074863"/>
              </a:xfrm>
              <a:grpFill/>
            </p:grpSpPr>
            <p:sp>
              <p:nvSpPr>
                <p:cNvPr id="500" name="Freeform 18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1" name="Freeform 19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2" name="Freeform 20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3" name="Freeform 21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4" name="Freeform 22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5" name="Freeform 23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6" name="Freeform 24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7" name="Freeform 25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8" name="Freeform 26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9" name="Freeform 27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0" name="Freeform 28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1" name="Freeform 29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2" name="Freeform 30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3" name="Freeform 31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4" name="Freeform 32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5" name="Freeform 33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6" name="Freeform 34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7" name="Freeform 35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8" name="Freeform 36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9" name="Freeform 37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0" name="Freeform 38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1" name="Freeform 39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2" name="Freeform 40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3" name="Freeform 41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4" name="Freeform 42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5" name="Freeform 43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6" name="Freeform 44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7" name="Freeform 45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8" name="Freeform 46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9" name="Freeform 47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0" name="Freeform 48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1" name="Freeform 49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2" name="Freeform 50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3" name="Freeform 51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4" name="Freeform 52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5" name="Freeform 53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6" name="Freeform 54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7" name="Freeform 55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8" name="Freeform 56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9" name="Freeform 57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0" name="Freeform 58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1" name="Freeform 59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2" name="Freeform 60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3" name="Freeform 61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4" name="Freeform 62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5" name="Freeform 63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6" name="Freeform 64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7" name="Freeform 65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8" name="Freeform 66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9" name="Freeform 67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0" name="Freeform 68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1" name="Freeform 69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2" name="Freeform 70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3" name="Freeform 71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4" name="Freeform 72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5" name="Freeform 73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6" name="Freeform 74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7" name="Freeform 75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8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9" name="Rectangle 77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0" name="Freeform 78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1" name="Freeform 79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2" name="Freeform 80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3" name="Freeform 81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4" name="Freeform 82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5" name="Freeform 83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6" name="Freeform 84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7" name="Freeform 85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8" name="Freeform 86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9" name="Freeform 87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0" name="Freeform 88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1" name="Freeform 89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2" name="Freeform 90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3" name="Freeform 91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4" name="Freeform 92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5" name="Freeform 93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6" name="Freeform 94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7" name="Freeform 95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8" name="Freeform 96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9" name="Freeform 97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0" name="Freeform 98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1" name="Freeform 99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2" name="Freeform 100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3" name="Freeform 101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4" name="Freeform 102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5" name="Freeform 103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6" name="Freeform 104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7" name="Freeform 105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8" name="Freeform 106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9" name="Freeform 107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0" name="Freeform 110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1" name="Freeform 111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2" name="Freeform 112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3" name="Freeform 113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4" name="Freeform 114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5" name="Freeform 115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6" name="Freeform 116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7" name="Freeform 117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8" name="Freeform 154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9" name="Freeform 155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0" name="Freeform 156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1" name="Freeform 157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2" name="Freeform 158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3" name="Freeform 159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4" name="Freeform 308"/>
              <p:cNvSpPr>
                <a:spLocks/>
              </p:cNvSpPr>
              <p:nvPr/>
            </p:nvSpPr>
            <p:spPr bwMode="auto">
              <a:xfrm>
                <a:off x="4212048" y="1642775"/>
                <a:ext cx="130697" cy="177764"/>
              </a:xfrm>
              <a:custGeom>
                <a:avLst/>
                <a:gdLst>
                  <a:gd name="T0" fmla="*/ 2147483647 w 122"/>
                  <a:gd name="T1" fmla="*/ 0 h 166"/>
                  <a:gd name="T2" fmla="*/ 2147483647 w 122"/>
                  <a:gd name="T3" fmla="*/ 2147483647 h 166"/>
                  <a:gd name="T4" fmla="*/ 0 w 122"/>
                  <a:gd name="T5" fmla="*/ 2147483647 h 166"/>
                  <a:gd name="T6" fmla="*/ 2147483647 w 122"/>
                  <a:gd name="T7" fmla="*/ 2147483647 h 166"/>
                  <a:gd name="T8" fmla="*/ 2147483647 w 122"/>
                  <a:gd name="T9" fmla="*/ 2147483647 h 166"/>
                  <a:gd name="T10" fmla="*/ 2147483647 w 122"/>
                  <a:gd name="T11" fmla="*/ 2147483647 h 166"/>
                  <a:gd name="T12" fmla="*/ 2147483647 w 122"/>
                  <a:gd name="T13" fmla="*/ 2147483647 h 166"/>
                  <a:gd name="T14" fmla="*/ 2147483647 w 122"/>
                  <a:gd name="T15" fmla="*/ 2147483647 h 166"/>
                  <a:gd name="T16" fmla="*/ 2147483647 w 122"/>
                  <a:gd name="T17" fmla="*/ 2147483647 h 166"/>
                  <a:gd name="T18" fmla="*/ 2147483647 w 122"/>
                  <a:gd name="T19" fmla="*/ 2147483647 h 166"/>
                  <a:gd name="T20" fmla="*/ 2147483647 w 122"/>
                  <a:gd name="T21" fmla="*/ 2147483647 h 166"/>
                  <a:gd name="T22" fmla="*/ 2147483647 w 122"/>
                  <a:gd name="T23" fmla="*/ 2147483647 h 166"/>
                  <a:gd name="T24" fmla="*/ 2147483647 w 122"/>
                  <a:gd name="T25" fmla="*/ 2147483647 h 166"/>
                  <a:gd name="T26" fmla="*/ 2147483647 w 122"/>
                  <a:gd name="T27" fmla="*/ 2147483647 h 166"/>
                  <a:gd name="T28" fmla="*/ 2147483647 w 122"/>
                  <a:gd name="T29" fmla="*/ 2147483647 h 166"/>
                  <a:gd name="T30" fmla="*/ 2147483647 w 122"/>
                  <a:gd name="T31" fmla="*/ 2147483647 h 166"/>
                  <a:gd name="T32" fmla="*/ 2147483647 w 122"/>
                  <a:gd name="T33" fmla="*/ 2147483647 h 166"/>
                  <a:gd name="T34" fmla="*/ 2147483647 w 122"/>
                  <a:gd name="T35" fmla="*/ 2147483647 h 166"/>
                  <a:gd name="T36" fmla="*/ 2147483647 w 122"/>
                  <a:gd name="T37" fmla="*/ 2147483647 h 166"/>
                  <a:gd name="T38" fmla="*/ 2147483647 w 122"/>
                  <a:gd name="T39" fmla="*/ 2147483647 h 166"/>
                  <a:gd name="T40" fmla="*/ 2147483647 w 122"/>
                  <a:gd name="T41" fmla="*/ 2147483647 h 166"/>
                  <a:gd name="T42" fmla="*/ 2147483647 w 122"/>
                  <a:gd name="T43" fmla="*/ 2147483647 h 166"/>
                  <a:gd name="T44" fmla="*/ 2147483647 w 122"/>
                  <a:gd name="T45" fmla="*/ 2147483647 h 166"/>
                  <a:gd name="T46" fmla="*/ 2147483647 w 122"/>
                  <a:gd name="T47" fmla="*/ 2147483647 h 166"/>
                  <a:gd name="T48" fmla="*/ 2147483647 w 122"/>
                  <a:gd name="T49" fmla="*/ 2147483647 h 166"/>
                  <a:gd name="T50" fmla="*/ 2147483647 w 122"/>
                  <a:gd name="T51" fmla="*/ 2147483647 h 166"/>
                  <a:gd name="T52" fmla="*/ 2147483647 w 122"/>
                  <a:gd name="T53" fmla="*/ 2147483647 h 166"/>
                  <a:gd name="T54" fmla="*/ 2147483647 w 122"/>
                  <a:gd name="T55" fmla="*/ 2147483647 h 166"/>
                  <a:gd name="T56" fmla="*/ 2147483647 w 122"/>
                  <a:gd name="T57" fmla="*/ 2147483647 h 166"/>
                  <a:gd name="T58" fmla="*/ 2147483647 w 122"/>
                  <a:gd name="T59" fmla="*/ 2147483647 h 166"/>
                  <a:gd name="T60" fmla="*/ 2147483647 w 122"/>
                  <a:gd name="T61" fmla="*/ 2147483647 h 166"/>
                  <a:gd name="T62" fmla="*/ 2147483647 w 122"/>
                  <a:gd name="T63" fmla="*/ 2147483647 h 166"/>
                  <a:gd name="T64" fmla="*/ 2147483647 w 122"/>
                  <a:gd name="T65" fmla="*/ 2147483647 h 166"/>
                  <a:gd name="T66" fmla="*/ 2147483647 w 122"/>
                  <a:gd name="T67" fmla="*/ 0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66"/>
                  <a:gd name="T104" fmla="*/ 122 w 12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66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  <a:lnTo>
                      <a:pt x="9" y="26"/>
                    </a:lnTo>
                    <a:lnTo>
                      <a:pt x="9" y="53"/>
                    </a:lnTo>
                    <a:lnTo>
                      <a:pt x="9" y="61"/>
                    </a:lnTo>
                    <a:lnTo>
                      <a:pt x="26" y="61"/>
                    </a:lnTo>
                    <a:lnTo>
                      <a:pt x="26" y="79"/>
                    </a:lnTo>
                    <a:lnTo>
                      <a:pt x="53" y="87"/>
                    </a:lnTo>
                    <a:lnTo>
                      <a:pt x="53" y="96"/>
                    </a:lnTo>
                    <a:lnTo>
                      <a:pt x="26" y="114"/>
                    </a:lnTo>
                    <a:lnTo>
                      <a:pt x="26" y="131"/>
                    </a:lnTo>
                    <a:lnTo>
                      <a:pt x="53" y="140"/>
                    </a:lnTo>
                    <a:lnTo>
                      <a:pt x="18" y="148"/>
                    </a:lnTo>
                    <a:lnTo>
                      <a:pt x="9" y="166"/>
                    </a:lnTo>
                    <a:lnTo>
                      <a:pt x="53" y="148"/>
                    </a:lnTo>
                    <a:lnTo>
                      <a:pt x="96" y="148"/>
                    </a:lnTo>
                    <a:lnTo>
                      <a:pt x="105" y="140"/>
                    </a:lnTo>
                    <a:lnTo>
                      <a:pt x="105" y="131"/>
                    </a:lnTo>
                    <a:lnTo>
                      <a:pt x="122" y="122"/>
                    </a:lnTo>
                    <a:lnTo>
                      <a:pt x="122" y="114"/>
                    </a:lnTo>
                    <a:lnTo>
                      <a:pt x="105" y="114"/>
                    </a:lnTo>
                    <a:lnTo>
                      <a:pt x="96" y="114"/>
                    </a:lnTo>
                    <a:lnTo>
                      <a:pt x="96" y="105"/>
                    </a:lnTo>
                    <a:lnTo>
                      <a:pt x="79" y="79"/>
                    </a:lnTo>
                    <a:lnTo>
                      <a:pt x="79" y="70"/>
                    </a:lnTo>
                    <a:lnTo>
                      <a:pt x="61" y="53"/>
                    </a:lnTo>
                    <a:lnTo>
                      <a:pt x="44" y="44"/>
                    </a:lnTo>
                    <a:lnTo>
                      <a:pt x="61" y="44"/>
                    </a:lnTo>
                    <a:lnTo>
                      <a:pt x="61" y="26"/>
                    </a:lnTo>
                    <a:lnTo>
                      <a:pt x="35" y="26"/>
                    </a:lnTo>
                    <a:lnTo>
                      <a:pt x="26" y="18"/>
                    </a:lnTo>
                    <a:lnTo>
                      <a:pt x="35" y="1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5" name="Freeform 312"/>
              <p:cNvSpPr>
                <a:spLocks/>
              </p:cNvSpPr>
              <p:nvPr/>
            </p:nvSpPr>
            <p:spPr bwMode="auto">
              <a:xfrm>
                <a:off x="4146700" y="1708097"/>
                <a:ext cx="74990" cy="84599"/>
              </a:xfrm>
              <a:custGeom>
                <a:avLst/>
                <a:gdLst>
                  <a:gd name="T0" fmla="*/ 2147483647 w 70"/>
                  <a:gd name="T1" fmla="*/ 2147483647 h 79"/>
                  <a:gd name="T2" fmla="*/ 2147483647 w 70"/>
                  <a:gd name="T3" fmla="*/ 2147483647 h 79"/>
                  <a:gd name="T4" fmla="*/ 0 w 70"/>
                  <a:gd name="T5" fmla="*/ 2147483647 h 79"/>
                  <a:gd name="T6" fmla="*/ 2147483647 w 70"/>
                  <a:gd name="T7" fmla="*/ 2147483647 h 79"/>
                  <a:gd name="T8" fmla="*/ 2147483647 w 70"/>
                  <a:gd name="T9" fmla="*/ 2147483647 h 79"/>
                  <a:gd name="T10" fmla="*/ 2147483647 w 70"/>
                  <a:gd name="T11" fmla="*/ 2147483647 h 79"/>
                  <a:gd name="T12" fmla="*/ 2147483647 w 70"/>
                  <a:gd name="T13" fmla="*/ 2147483647 h 79"/>
                  <a:gd name="T14" fmla="*/ 2147483647 w 70"/>
                  <a:gd name="T15" fmla="*/ 2147483647 h 79"/>
                  <a:gd name="T16" fmla="*/ 2147483647 w 70"/>
                  <a:gd name="T17" fmla="*/ 2147483647 h 79"/>
                  <a:gd name="T18" fmla="*/ 2147483647 w 70"/>
                  <a:gd name="T19" fmla="*/ 0 h 79"/>
                  <a:gd name="T20" fmla="*/ 2147483647 w 70"/>
                  <a:gd name="T21" fmla="*/ 2147483647 h 79"/>
                  <a:gd name="T22" fmla="*/ 2147483647 w 70"/>
                  <a:gd name="T23" fmla="*/ 2147483647 h 79"/>
                  <a:gd name="T24" fmla="*/ 2147483647 w 70"/>
                  <a:gd name="T25" fmla="*/ 2147483647 h 79"/>
                  <a:gd name="T26" fmla="*/ 2147483647 w 70"/>
                  <a:gd name="T27" fmla="*/ 214748364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0"/>
                  <a:gd name="T43" fmla="*/ 0 h 79"/>
                  <a:gd name="T44" fmla="*/ 70 w 70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0" h="79">
                    <a:moveTo>
                      <a:pt x="9" y="35"/>
                    </a:moveTo>
                    <a:lnTo>
                      <a:pt x="18" y="44"/>
                    </a:lnTo>
                    <a:lnTo>
                      <a:pt x="0" y="61"/>
                    </a:lnTo>
                    <a:lnTo>
                      <a:pt x="18" y="79"/>
                    </a:lnTo>
                    <a:lnTo>
                      <a:pt x="44" y="79"/>
                    </a:lnTo>
                    <a:lnTo>
                      <a:pt x="70" y="53"/>
                    </a:lnTo>
                    <a:lnTo>
                      <a:pt x="70" y="35"/>
                    </a:lnTo>
                    <a:lnTo>
                      <a:pt x="52" y="26"/>
                    </a:lnTo>
                    <a:lnTo>
                      <a:pt x="61" y="9"/>
                    </a:lnTo>
                    <a:lnTo>
                      <a:pt x="61" y="0"/>
                    </a:lnTo>
                    <a:lnTo>
                      <a:pt x="44" y="9"/>
                    </a:lnTo>
                    <a:lnTo>
                      <a:pt x="35" y="26"/>
                    </a:lnTo>
                    <a:lnTo>
                      <a:pt x="18" y="26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6" name="Freeform 489"/>
              <p:cNvSpPr>
                <a:spLocks/>
              </p:cNvSpPr>
              <p:nvPr/>
            </p:nvSpPr>
            <p:spPr bwMode="auto">
              <a:xfrm>
                <a:off x="4455231" y="2062554"/>
                <a:ext cx="65349" cy="149921"/>
              </a:xfrm>
              <a:custGeom>
                <a:avLst/>
                <a:gdLst>
                  <a:gd name="T0" fmla="*/ 2147483647 w 61"/>
                  <a:gd name="T1" fmla="*/ 2147483647 h 140"/>
                  <a:gd name="T2" fmla="*/ 2147483647 w 61"/>
                  <a:gd name="T3" fmla="*/ 2147483647 h 140"/>
                  <a:gd name="T4" fmla="*/ 2147483647 w 61"/>
                  <a:gd name="T5" fmla="*/ 0 h 140"/>
                  <a:gd name="T6" fmla="*/ 0 w 61"/>
                  <a:gd name="T7" fmla="*/ 2147483647 h 140"/>
                  <a:gd name="T8" fmla="*/ 2147483647 w 61"/>
                  <a:gd name="T9" fmla="*/ 2147483647 h 140"/>
                  <a:gd name="T10" fmla="*/ 2147483647 w 61"/>
                  <a:gd name="T11" fmla="*/ 2147483647 h 140"/>
                  <a:gd name="T12" fmla="*/ 2147483647 w 61"/>
                  <a:gd name="T13" fmla="*/ 2147483647 h 140"/>
                  <a:gd name="T14" fmla="*/ 2147483647 w 61"/>
                  <a:gd name="T15" fmla="*/ 2147483647 h 140"/>
                  <a:gd name="T16" fmla="*/ 2147483647 w 61"/>
                  <a:gd name="T17" fmla="*/ 2147483647 h 140"/>
                  <a:gd name="T18" fmla="*/ 2147483647 w 61"/>
                  <a:gd name="T19" fmla="*/ 2147483647 h 140"/>
                  <a:gd name="T20" fmla="*/ 2147483647 w 61"/>
                  <a:gd name="T21" fmla="*/ 2147483647 h 140"/>
                  <a:gd name="T22" fmla="*/ 2147483647 w 61"/>
                  <a:gd name="T23" fmla="*/ 2147483647 h 140"/>
                  <a:gd name="T24" fmla="*/ 2147483647 w 61"/>
                  <a:gd name="T25" fmla="*/ 2147483647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1"/>
                  <a:gd name="T40" fmla="*/ 0 h 140"/>
                  <a:gd name="T41" fmla="*/ 61 w 61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1" h="140">
                    <a:moveTo>
                      <a:pt x="35" y="27"/>
                    </a:moveTo>
                    <a:lnTo>
                      <a:pt x="35" y="18"/>
                    </a:lnTo>
                    <a:lnTo>
                      <a:pt x="17" y="0"/>
                    </a:lnTo>
                    <a:lnTo>
                      <a:pt x="0" y="70"/>
                    </a:lnTo>
                    <a:lnTo>
                      <a:pt x="26" y="140"/>
                    </a:lnTo>
                    <a:lnTo>
                      <a:pt x="43" y="123"/>
                    </a:lnTo>
                    <a:lnTo>
                      <a:pt x="43" y="105"/>
                    </a:lnTo>
                    <a:lnTo>
                      <a:pt x="52" y="96"/>
                    </a:lnTo>
                    <a:lnTo>
                      <a:pt x="61" y="79"/>
                    </a:lnTo>
                    <a:lnTo>
                      <a:pt x="26" y="61"/>
                    </a:lnTo>
                    <a:lnTo>
                      <a:pt x="35" y="44"/>
                    </a:lnTo>
                    <a:lnTo>
                      <a:pt x="26" y="27"/>
                    </a:lnTo>
                    <a:lnTo>
                      <a:pt x="35" y="27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7" name="Freeform 491"/>
              <p:cNvSpPr>
                <a:spLocks/>
              </p:cNvSpPr>
              <p:nvPr/>
            </p:nvSpPr>
            <p:spPr bwMode="auto">
              <a:xfrm>
                <a:off x="4165983" y="2062554"/>
                <a:ext cx="364237" cy="364094"/>
              </a:xfrm>
              <a:custGeom>
                <a:avLst/>
                <a:gdLst>
                  <a:gd name="T0" fmla="*/ 2147483647 w 340"/>
                  <a:gd name="T1" fmla="*/ 2147483647 h 340"/>
                  <a:gd name="T2" fmla="*/ 2147483647 w 340"/>
                  <a:gd name="T3" fmla="*/ 2147483647 h 340"/>
                  <a:gd name="T4" fmla="*/ 2147483647 w 340"/>
                  <a:gd name="T5" fmla="*/ 2147483647 h 340"/>
                  <a:gd name="T6" fmla="*/ 2147483647 w 340"/>
                  <a:gd name="T7" fmla="*/ 2147483647 h 340"/>
                  <a:gd name="T8" fmla="*/ 2147483647 w 340"/>
                  <a:gd name="T9" fmla="*/ 2147483647 h 340"/>
                  <a:gd name="T10" fmla="*/ 2147483647 w 340"/>
                  <a:gd name="T11" fmla="*/ 0 h 340"/>
                  <a:gd name="T12" fmla="*/ 2147483647 w 340"/>
                  <a:gd name="T13" fmla="*/ 2147483647 h 340"/>
                  <a:gd name="T14" fmla="*/ 2147483647 w 340"/>
                  <a:gd name="T15" fmla="*/ 2147483647 h 340"/>
                  <a:gd name="T16" fmla="*/ 2147483647 w 340"/>
                  <a:gd name="T17" fmla="*/ 2147483647 h 340"/>
                  <a:gd name="T18" fmla="*/ 2147483647 w 340"/>
                  <a:gd name="T19" fmla="*/ 2147483647 h 340"/>
                  <a:gd name="T20" fmla="*/ 2147483647 w 340"/>
                  <a:gd name="T21" fmla="*/ 2147483647 h 340"/>
                  <a:gd name="T22" fmla="*/ 2147483647 w 340"/>
                  <a:gd name="T23" fmla="*/ 2147483647 h 340"/>
                  <a:gd name="T24" fmla="*/ 2147483647 w 340"/>
                  <a:gd name="T25" fmla="*/ 2147483647 h 340"/>
                  <a:gd name="T26" fmla="*/ 2147483647 w 340"/>
                  <a:gd name="T27" fmla="*/ 2147483647 h 340"/>
                  <a:gd name="T28" fmla="*/ 2147483647 w 340"/>
                  <a:gd name="T29" fmla="*/ 2147483647 h 340"/>
                  <a:gd name="T30" fmla="*/ 2147483647 w 340"/>
                  <a:gd name="T31" fmla="*/ 2147483647 h 340"/>
                  <a:gd name="T32" fmla="*/ 0 w 340"/>
                  <a:gd name="T33" fmla="*/ 2147483647 h 340"/>
                  <a:gd name="T34" fmla="*/ 0 w 340"/>
                  <a:gd name="T35" fmla="*/ 2147483647 h 340"/>
                  <a:gd name="T36" fmla="*/ 2147483647 w 340"/>
                  <a:gd name="T37" fmla="*/ 2147483647 h 340"/>
                  <a:gd name="T38" fmla="*/ 2147483647 w 340"/>
                  <a:gd name="T39" fmla="*/ 2147483647 h 340"/>
                  <a:gd name="T40" fmla="*/ 2147483647 w 340"/>
                  <a:gd name="T41" fmla="*/ 2147483647 h 340"/>
                  <a:gd name="T42" fmla="*/ 2147483647 w 340"/>
                  <a:gd name="T43" fmla="*/ 2147483647 h 340"/>
                  <a:gd name="T44" fmla="*/ 2147483647 w 340"/>
                  <a:gd name="T45" fmla="*/ 2147483647 h 340"/>
                  <a:gd name="T46" fmla="*/ 2147483647 w 340"/>
                  <a:gd name="T47" fmla="*/ 2147483647 h 340"/>
                  <a:gd name="T48" fmla="*/ 2147483647 w 340"/>
                  <a:gd name="T49" fmla="*/ 2147483647 h 34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40"/>
                  <a:gd name="T76" fmla="*/ 0 h 340"/>
                  <a:gd name="T77" fmla="*/ 340 w 340"/>
                  <a:gd name="T78" fmla="*/ 340 h 34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40" h="340">
                    <a:moveTo>
                      <a:pt x="340" y="253"/>
                    </a:moveTo>
                    <a:lnTo>
                      <a:pt x="340" y="245"/>
                    </a:lnTo>
                    <a:lnTo>
                      <a:pt x="305" y="236"/>
                    </a:lnTo>
                    <a:lnTo>
                      <a:pt x="296" y="140"/>
                    </a:lnTo>
                    <a:lnTo>
                      <a:pt x="270" y="70"/>
                    </a:lnTo>
                    <a:lnTo>
                      <a:pt x="287" y="0"/>
                    </a:lnTo>
                    <a:lnTo>
                      <a:pt x="174" y="18"/>
                    </a:lnTo>
                    <a:lnTo>
                      <a:pt x="104" y="35"/>
                    </a:lnTo>
                    <a:lnTo>
                      <a:pt x="104" y="53"/>
                    </a:lnTo>
                    <a:lnTo>
                      <a:pt x="122" y="53"/>
                    </a:lnTo>
                    <a:lnTo>
                      <a:pt x="122" y="88"/>
                    </a:lnTo>
                    <a:lnTo>
                      <a:pt x="130" y="88"/>
                    </a:lnTo>
                    <a:lnTo>
                      <a:pt x="130" y="105"/>
                    </a:lnTo>
                    <a:lnTo>
                      <a:pt x="104" y="96"/>
                    </a:lnTo>
                    <a:lnTo>
                      <a:pt x="52" y="149"/>
                    </a:lnTo>
                    <a:lnTo>
                      <a:pt x="26" y="149"/>
                    </a:lnTo>
                    <a:lnTo>
                      <a:pt x="0" y="166"/>
                    </a:lnTo>
                    <a:lnTo>
                      <a:pt x="0" y="184"/>
                    </a:lnTo>
                    <a:lnTo>
                      <a:pt x="69" y="236"/>
                    </a:lnTo>
                    <a:lnTo>
                      <a:pt x="165" y="297"/>
                    </a:lnTo>
                    <a:lnTo>
                      <a:pt x="165" y="314"/>
                    </a:lnTo>
                    <a:lnTo>
                      <a:pt x="218" y="340"/>
                    </a:lnTo>
                    <a:lnTo>
                      <a:pt x="226" y="332"/>
                    </a:lnTo>
                    <a:lnTo>
                      <a:pt x="235" y="340"/>
                    </a:lnTo>
                    <a:lnTo>
                      <a:pt x="340" y="25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4146700" y="1288318"/>
                <a:ext cx="3194578" cy="2398741"/>
                <a:chOff x="4146700" y="1288318"/>
                <a:chExt cx="3194578" cy="2398741"/>
              </a:xfrm>
              <a:grpFill/>
            </p:grpSpPr>
            <p:sp>
              <p:nvSpPr>
                <p:cNvPr id="148" name="Freeform 307"/>
                <p:cNvSpPr>
                  <a:spLocks/>
                </p:cNvSpPr>
                <p:nvPr/>
              </p:nvSpPr>
              <p:spPr bwMode="auto">
                <a:xfrm>
                  <a:off x="4212048" y="1642775"/>
                  <a:ext cx="130698" cy="177764"/>
                </a:xfrm>
                <a:custGeom>
                  <a:avLst/>
                  <a:gdLst>
                    <a:gd name="T0" fmla="*/ 2147483647 w 122"/>
                    <a:gd name="T1" fmla="*/ 0 h 166"/>
                    <a:gd name="T2" fmla="*/ 2147483647 w 122"/>
                    <a:gd name="T3" fmla="*/ 2147483647 h 166"/>
                    <a:gd name="T4" fmla="*/ 0 w 122"/>
                    <a:gd name="T5" fmla="*/ 2147483647 h 166"/>
                    <a:gd name="T6" fmla="*/ 2147483647 w 122"/>
                    <a:gd name="T7" fmla="*/ 2147483647 h 166"/>
                    <a:gd name="T8" fmla="*/ 2147483647 w 122"/>
                    <a:gd name="T9" fmla="*/ 2147483647 h 166"/>
                    <a:gd name="T10" fmla="*/ 2147483647 w 122"/>
                    <a:gd name="T11" fmla="*/ 2147483647 h 166"/>
                    <a:gd name="T12" fmla="*/ 2147483647 w 122"/>
                    <a:gd name="T13" fmla="*/ 2147483647 h 166"/>
                    <a:gd name="T14" fmla="*/ 2147483647 w 122"/>
                    <a:gd name="T15" fmla="*/ 2147483647 h 166"/>
                    <a:gd name="T16" fmla="*/ 2147483647 w 122"/>
                    <a:gd name="T17" fmla="*/ 2147483647 h 166"/>
                    <a:gd name="T18" fmla="*/ 2147483647 w 122"/>
                    <a:gd name="T19" fmla="*/ 2147483647 h 166"/>
                    <a:gd name="T20" fmla="*/ 2147483647 w 122"/>
                    <a:gd name="T21" fmla="*/ 2147483647 h 166"/>
                    <a:gd name="T22" fmla="*/ 2147483647 w 122"/>
                    <a:gd name="T23" fmla="*/ 2147483647 h 166"/>
                    <a:gd name="T24" fmla="*/ 2147483647 w 122"/>
                    <a:gd name="T25" fmla="*/ 2147483647 h 166"/>
                    <a:gd name="T26" fmla="*/ 2147483647 w 122"/>
                    <a:gd name="T27" fmla="*/ 2147483647 h 166"/>
                    <a:gd name="T28" fmla="*/ 2147483647 w 122"/>
                    <a:gd name="T29" fmla="*/ 2147483647 h 166"/>
                    <a:gd name="T30" fmla="*/ 2147483647 w 122"/>
                    <a:gd name="T31" fmla="*/ 2147483647 h 166"/>
                    <a:gd name="T32" fmla="*/ 2147483647 w 122"/>
                    <a:gd name="T33" fmla="*/ 2147483647 h 166"/>
                    <a:gd name="T34" fmla="*/ 2147483647 w 122"/>
                    <a:gd name="T35" fmla="*/ 2147483647 h 166"/>
                    <a:gd name="T36" fmla="*/ 2147483647 w 122"/>
                    <a:gd name="T37" fmla="*/ 2147483647 h 166"/>
                    <a:gd name="T38" fmla="*/ 2147483647 w 122"/>
                    <a:gd name="T39" fmla="*/ 2147483647 h 166"/>
                    <a:gd name="T40" fmla="*/ 2147483647 w 122"/>
                    <a:gd name="T41" fmla="*/ 2147483647 h 166"/>
                    <a:gd name="T42" fmla="*/ 2147483647 w 122"/>
                    <a:gd name="T43" fmla="*/ 2147483647 h 166"/>
                    <a:gd name="T44" fmla="*/ 2147483647 w 122"/>
                    <a:gd name="T45" fmla="*/ 2147483647 h 166"/>
                    <a:gd name="T46" fmla="*/ 2147483647 w 122"/>
                    <a:gd name="T47" fmla="*/ 2147483647 h 166"/>
                    <a:gd name="T48" fmla="*/ 2147483647 w 122"/>
                    <a:gd name="T49" fmla="*/ 2147483647 h 166"/>
                    <a:gd name="T50" fmla="*/ 2147483647 w 122"/>
                    <a:gd name="T51" fmla="*/ 2147483647 h 166"/>
                    <a:gd name="T52" fmla="*/ 2147483647 w 122"/>
                    <a:gd name="T53" fmla="*/ 2147483647 h 166"/>
                    <a:gd name="T54" fmla="*/ 2147483647 w 122"/>
                    <a:gd name="T55" fmla="*/ 2147483647 h 166"/>
                    <a:gd name="T56" fmla="*/ 2147483647 w 122"/>
                    <a:gd name="T57" fmla="*/ 2147483647 h 166"/>
                    <a:gd name="T58" fmla="*/ 2147483647 w 122"/>
                    <a:gd name="T59" fmla="*/ 2147483647 h 166"/>
                    <a:gd name="T60" fmla="*/ 2147483647 w 122"/>
                    <a:gd name="T61" fmla="*/ 2147483647 h 166"/>
                    <a:gd name="T62" fmla="*/ 2147483647 w 122"/>
                    <a:gd name="T63" fmla="*/ 2147483647 h 166"/>
                    <a:gd name="T64" fmla="*/ 2147483647 w 122"/>
                    <a:gd name="T65" fmla="*/ 2147483647 h 166"/>
                    <a:gd name="T66" fmla="*/ 2147483647 w 122"/>
                    <a:gd name="T67" fmla="*/ 0 h 1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66"/>
                    <a:gd name="T104" fmla="*/ 122 w 122"/>
                    <a:gd name="T105" fmla="*/ 166 h 16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66">
                      <a:moveTo>
                        <a:pt x="9" y="0"/>
                      </a:move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9" y="26"/>
                      </a:lnTo>
                      <a:lnTo>
                        <a:pt x="9" y="53"/>
                      </a:lnTo>
                      <a:lnTo>
                        <a:pt x="9" y="61"/>
                      </a:lnTo>
                      <a:lnTo>
                        <a:pt x="26" y="61"/>
                      </a:lnTo>
                      <a:lnTo>
                        <a:pt x="26" y="79"/>
                      </a:lnTo>
                      <a:lnTo>
                        <a:pt x="53" y="87"/>
                      </a:lnTo>
                      <a:lnTo>
                        <a:pt x="53" y="96"/>
                      </a:lnTo>
                      <a:lnTo>
                        <a:pt x="26" y="114"/>
                      </a:lnTo>
                      <a:lnTo>
                        <a:pt x="26" y="131"/>
                      </a:lnTo>
                      <a:lnTo>
                        <a:pt x="53" y="140"/>
                      </a:lnTo>
                      <a:lnTo>
                        <a:pt x="18" y="148"/>
                      </a:lnTo>
                      <a:lnTo>
                        <a:pt x="9" y="166"/>
                      </a:lnTo>
                      <a:lnTo>
                        <a:pt x="53" y="148"/>
                      </a:lnTo>
                      <a:lnTo>
                        <a:pt x="96" y="148"/>
                      </a:lnTo>
                      <a:lnTo>
                        <a:pt x="105" y="140"/>
                      </a:lnTo>
                      <a:lnTo>
                        <a:pt x="105" y="131"/>
                      </a:lnTo>
                      <a:lnTo>
                        <a:pt x="122" y="122"/>
                      </a:lnTo>
                      <a:lnTo>
                        <a:pt x="122" y="114"/>
                      </a:lnTo>
                      <a:lnTo>
                        <a:pt x="105" y="114"/>
                      </a:lnTo>
                      <a:lnTo>
                        <a:pt x="96" y="114"/>
                      </a:lnTo>
                      <a:lnTo>
                        <a:pt x="96" y="105"/>
                      </a:lnTo>
                      <a:lnTo>
                        <a:pt x="79" y="79"/>
                      </a:lnTo>
                      <a:lnTo>
                        <a:pt x="79" y="70"/>
                      </a:lnTo>
                      <a:lnTo>
                        <a:pt x="61" y="53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61" y="26"/>
                      </a:lnTo>
                      <a:lnTo>
                        <a:pt x="35" y="26"/>
                      </a:lnTo>
                      <a:lnTo>
                        <a:pt x="26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4146700" y="1708098"/>
                  <a:ext cx="74990" cy="84599"/>
                </a:xfrm>
                <a:custGeom>
                  <a:avLst/>
                  <a:gdLst>
                    <a:gd name="T0" fmla="*/ 2147483647 w 70"/>
                    <a:gd name="T1" fmla="*/ 2147483647 h 79"/>
                    <a:gd name="T2" fmla="*/ 2147483647 w 70"/>
                    <a:gd name="T3" fmla="*/ 2147483647 h 79"/>
                    <a:gd name="T4" fmla="*/ 0 w 70"/>
                    <a:gd name="T5" fmla="*/ 2147483647 h 79"/>
                    <a:gd name="T6" fmla="*/ 2147483647 w 70"/>
                    <a:gd name="T7" fmla="*/ 2147483647 h 79"/>
                    <a:gd name="T8" fmla="*/ 2147483647 w 70"/>
                    <a:gd name="T9" fmla="*/ 2147483647 h 79"/>
                    <a:gd name="T10" fmla="*/ 2147483647 w 70"/>
                    <a:gd name="T11" fmla="*/ 2147483647 h 79"/>
                    <a:gd name="T12" fmla="*/ 2147483647 w 70"/>
                    <a:gd name="T13" fmla="*/ 2147483647 h 79"/>
                    <a:gd name="T14" fmla="*/ 2147483647 w 70"/>
                    <a:gd name="T15" fmla="*/ 2147483647 h 79"/>
                    <a:gd name="T16" fmla="*/ 2147483647 w 70"/>
                    <a:gd name="T17" fmla="*/ 2147483647 h 79"/>
                    <a:gd name="T18" fmla="*/ 2147483647 w 70"/>
                    <a:gd name="T19" fmla="*/ 0 h 79"/>
                    <a:gd name="T20" fmla="*/ 2147483647 w 70"/>
                    <a:gd name="T21" fmla="*/ 2147483647 h 79"/>
                    <a:gd name="T22" fmla="*/ 2147483647 w 70"/>
                    <a:gd name="T23" fmla="*/ 2147483647 h 79"/>
                    <a:gd name="T24" fmla="*/ 2147483647 w 70"/>
                    <a:gd name="T25" fmla="*/ 2147483647 h 79"/>
                    <a:gd name="T26" fmla="*/ 2147483647 w 70"/>
                    <a:gd name="T27" fmla="*/ 214748364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0"/>
                    <a:gd name="T43" fmla="*/ 0 h 79"/>
                    <a:gd name="T44" fmla="*/ 70 w 70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0" h="79">
                      <a:moveTo>
                        <a:pt x="9" y="35"/>
                      </a:moveTo>
                      <a:lnTo>
                        <a:pt x="18" y="44"/>
                      </a:lnTo>
                      <a:lnTo>
                        <a:pt x="0" y="61"/>
                      </a:lnTo>
                      <a:lnTo>
                        <a:pt x="18" y="79"/>
                      </a:lnTo>
                      <a:lnTo>
                        <a:pt x="44" y="79"/>
                      </a:lnTo>
                      <a:lnTo>
                        <a:pt x="70" y="53"/>
                      </a:lnTo>
                      <a:lnTo>
                        <a:pt x="70" y="35"/>
                      </a:lnTo>
                      <a:lnTo>
                        <a:pt x="52" y="26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35" y="26"/>
                      </a:lnTo>
                      <a:lnTo>
                        <a:pt x="18" y="26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0" name="Freeform 8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1" name="Freeform 9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2" name="Freeform 10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3" name="Freeform 11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4" name="Freeform 12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5" name="Freeform 13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6" name="Freeform 14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7" name="Freeform 15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8" name="Freeform 16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9" name="Freeform 17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0" name="Freeform 148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1" name="Freeform 149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2" name="Freeform 150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3" name="Freeform 151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4" name="Freeform 152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5" name="Freeform 153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6" name="Freeform 160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7" name="Freeform 161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8" name="Freeform 162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9" name="Freeform 163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0" name="Freeform 164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1" name="Freeform 165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2" name="Freeform 166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3" name="Freeform 167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4" name="Freeform 168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5" name="Freeform 169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6" name="Freeform 170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7" name="Freeform 171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8" name="Freeform 172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9" name="Freeform 173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0" name="Freeform 174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1" name="Freeform 175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2" name="Freeform 176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3" name="Freeform 177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4" name="Rectangle 178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5" name="Rectangle 179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6" name="Freeform 180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7" name="Freeform 181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8" name="Freeform 182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9" name="Freeform 183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0" name="Freeform 184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1" name="Freeform 185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2" name="Freeform 186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3" name="Freeform 187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4" name="Freeform 188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5" name="Freeform 189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6" name="Freeform 190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7" name="Freeform 191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8" name="Freeform 192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9" name="Freeform 193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0" name="Rectangle 194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1" name="Rectangle 195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2" name="Rectangle 196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3" name="Rectangle 197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4" name="Freeform 198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5" name="Freeform 199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6" name="Freeform 200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7" name="Freeform 201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8" name="Freeform 202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9" name="Freeform 203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0" name="Freeform 204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1" name="Freeform 205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2" name="Freeform 207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3" name="Freeform 208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4" name="Freeform 209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5" name="Freeform 210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6" name="Freeform 211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7" name="Freeform 212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8" name="Freeform 213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9" name="Freeform 214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0" name="Freeform 215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1" name="Freeform 216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2" name="Freeform 217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3" name="Freeform 218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4" name="Freeform 219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5" name="Freeform 220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6" name="Freeform 221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7" name="Freeform 222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8" name="Freeform 223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9" name="Freeform 224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0" name="Freeform 225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1" name="Freeform 226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2" name="Freeform 227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3" name="Freeform 228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4" name="Freeform 229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5" name="Freeform 230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Freeform 231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Freeform 232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Freeform 233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Freeform 234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Freeform 235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Freeform 236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2" name="Freeform 237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3" name="Freeform 238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4" name="Freeform 239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5" name="Freeform 240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6" name="Freeform 241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7" name="Freeform 242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8" name="Freeform 243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9" name="Freeform 244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0" name="Freeform 245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1" name="Freeform 246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2" name="Freeform 247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3" name="Freeform 248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4" name="Freeform 249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5" name="Freeform 250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6" name="Freeform 251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7" name="Freeform 252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8" name="Freeform 253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9" name="Freeform 254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0" name="Freeform 255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1" name="Freeform 256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2" name="Freeform 257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3" name="Freeform 258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4" name="Freeform 259"/>
                <p:cNvSpPr>
                  <a:spLocks/>
                </p:cNvSpPr>
                <p:nvPr/>
              </p:nvSpPr>
              <p:spPr bwMode="auto">
                <a:xfrm>
                  <a:off x="4427377" y="1680256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5" name="Freeform 260"/>
                <p:cNvSpPr>
                  <a:spLocks/>
                </p:cNvSpPr>
                <p:nvPr/>
              </p:nvSpPr>
              <p:spPr bwMode="auto">
                <a:xfrm>
                  <a:off x="4427377" y="1680257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6" name="Freeform 261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7" name="Freeform 262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8" name="Freeform 263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9" name="Freeform 264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0" name="Freeform 265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1" name="Freeform 266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2" name="Freeform 267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3" name="Freeform 268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4" name="Freeform 269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5" name="Freeform 270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6" name="Freeform 271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7" name="Freeform 272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8" name="Freeform 273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9" name="Freeform 274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0" name="Freeform 275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1" name="Freeform 276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2" name="Freeform 277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3" name="Freeform 278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4" name="Freeform 279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5" name="Freeform 280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6" name="Freeform 281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7" name="Freeform 282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8" name="Freeform 283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9" name="Freeform 284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0" name="Freeform 285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1" name="Freeform 286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2" name="Freeform 287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3" name="Freeform 288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4" name="Freeform 289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5" name="Freeform 290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6" name="Freeform 291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7" name="Freeform 292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8" name="Freeform 293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9" name="Freeform 294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0" name="Freeform 301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1" name="Freeform 302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2" name="Freeform 303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3" name="Freeform 304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4" name="Freeform 305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5" name="Freeform 306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6" name="Freeform 309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7" name="Freeform 310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8" name="Freeform 313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9" name="Freeform 314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0" name="Freeform 315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1" name="Freeform 316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2" name="Freeform 317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3" name="Freeform 318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4" name="Freeform 319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5" name="Freeform 320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6" name="Freeform 321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7" name="Freeform 322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8" name="Freeform 323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9" name="Freeform 324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0" name="Freeform 325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1" name="Freeform 326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2" name="Freeform 327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3" name="Freeform 328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4" name="Freeform 329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5" name="Freeform 330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6" name="Freeform 331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7" name="Freeform 332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8" name="Freeform 333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9" name="Freeform 334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0" name="Freeform 335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1" name="Freeform 336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2" name="Freeform 337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3" name="Freeform 338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4" name="Freeform 339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5" name="Freeform 340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6" name="Freeform 341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7" name="Freeform 342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8" name="Freeform 343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9" name="Freeform 344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0" name="Freeform 345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1" name="Freeform 346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2" name="Freeform 347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3" name="Freeform 348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4" name="Rectangle 349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5" name="Rectangle 350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6" name="Freeform 351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7" name="Freeform 352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8" name="Freeform 353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9" name="Freeform 354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0" name="Freeform 355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1" name="Freeform 356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2" name="Freeform 357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3" name="Freeform 358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4" name="Freeform 359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5" name="Freeform 360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6" name="Freeform 361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7" name="Freeform 362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8" name="Freeform 363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9" name="Freeform 364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0" name="Freeform 365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1" name="Freeform 366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2" name="Freeform 367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3" name="Freeform 368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4" name="Freeform 369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5" name="Freeform 370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6" name="Freeform 371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7" name="Freeform 372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8" name="Freeform 373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9" name="Freeform 374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0" name="Freeform 375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1" name="Freeform 376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2" name="Freeform 377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3" name="Freeform 378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4" name="Freeform 379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5" name="Freeform 380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6" name="Freeform 381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7" name="Freeform 382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8" name="Freeform 383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9" name="Freeform 384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0" name="Freeform 385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1" name="Freeform 386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2" name="Freeform 387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3" name="Freeform 388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4" name="Freeform 389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5" name="Freeform 390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6" name="Freeform 391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7" name="Freeform 392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8" name="Freeform 393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9" name="Freeform 394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0" name="Freeform 395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1" name="Freeform 396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2" name="Freeform 397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3" name="Freeform 398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4" name="Freeform 399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5" name="Freeform 400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6" name="Freeform 401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7" name="Freeform 402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8" name="Freeform 403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9" name="Freeform 404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0" name="Freeform 405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1" name="Freeform 406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2" name="Freeform 408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3" name="Freeform 409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4" name="Freeform 410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5" name="Freeform 411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6" name="Freeform 412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7" name="Freeform 413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8" name="Freeform 414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9" name="Freeform 415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0" name="Freeform 416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1" name="Freeform 417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2" name="Freeform 418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3" name="Freeform 419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4" name="Freeform 420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5" name="Freeform 421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6" name="Freeform 422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7" name="Freeform 423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8" name="Freeform 424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9" name="Freeform 425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0" name="Freeform 426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1" name="Freeform 427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2" name="Freeform 428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3" name="Freeform 429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4" name="Freeform 430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5" name="Freeform 431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6" name="Freeform 432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7" name="Freeform 433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8" name="Freeform 434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9" name="Freeform 435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0" name="Freeform 436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1" name="Freeform 437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2" name="Freeform 438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3" name="Freeform 439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4" name="Freeform 440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5" name="Freeform 441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6" name="Freeform 442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7" name="Freeform 443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8" name="Freeform 444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9" name="Freeform 445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0" name="Freeform 446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1" name="Freeform 447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2" name="Freeform 448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3" name="Freeform 449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4" name="Freeform 450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5" name="Freeform 451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6" name="Freeform 452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7" name="Freeform 453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8" name="Freeform 454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9" name="Freeform 455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0" name="Freeform 456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1" name="Freeform 457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2" name="Freeform 458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3" name="Freeform 459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4" name="Freeform 460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5" name="Freeform 461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6" name="Freeform 462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7" name="Freeform 463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8" name="Freeform 464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9" name="Freeform 465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0" name="Freeform 466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1" name="Freeform 467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2" name="Freeform 468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3" name="Freeform 469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4" name="Freeform 470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5" name="Freeform 471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6" name="Freeform 472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7" name="Freeform 473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8" name="Freeform 474"/>
                <p:cNvSpPr>
                  <a:spLocks/>
                </p:cNvSpPr>
                <p:nvPr/>
              </p:nvSpPr>
              <p:spPr bwMode="auto">
                <a:xfrm>
                  <a:off x="7220221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9" name="Freeform 475"/>
                <p:cNvSpPr>
                  <a:spLocks/>
                </p:cNvSpPr>
                <p:nvPr/>
              </p:nvSpPr>
              <p:spPr bwMode="auto">
                <a:xfrm>
                  <a:off x="7220222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0" name="Freeform 476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1" name="Freeform 477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2" name="Freeform 478"/>
                <p:cNvSpPr>
                  <a:spLocks/>
                </p:cNvSpPr>
                <p:nvPr/>
              </p:nvSpPr>
              <p:spPr bwMode="auto">
                <a:xfrm>
                  <a:off x="7220221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3" name="Freeform 479"/>
                <p:cNvSpPr>
                  <a:spLocks/>
                </p:cNvSpPr>
                <p:nvPr/>
              </p:nvSpPr>
              <p:spPr bwMode="auto">
                <a:xfrm>
                  <a:off x="7220219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4" name="Freeform 480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5" name="Freeform 481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6" name="Freeform 482"/>
                <p:cNvSpPr>
                  <a:spLocks/>
                </p:cNvSpPr>
                <p:nvPr/>
              </p:nvSpPr>
              <p:spPr bwMode="auto">
                <a:xfrm>
                  <a:off x="6444609" y="2034715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7" name="Freeform 483"/>
                <p:cNvSpPr>
                  <a:spLocks/>
                </p:cNvSpPr>
                <p:nvPr/>
              </p:nvSpPr>
              <p:spPr bwMode="auto">
                <a:xfrm>
                  <a:off x="6444607" y="2034716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8" name="Freeform 484"/>
                <p:cNvSpPr>
                  <a:spLocks/>
                </p:cNvSpPr>
                <p:nvPr/>
              </p:nvSpPr>
              <p:spPr bwMode="auto">
                <a:xfrm>
                  <a:off x="6491743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9" name="Freeform 485"/>
                <p:cNvSpPr>
                  <a:spLocks/>
                </p:cNvSpPr>
                <p:nvPr/>
              </p:nvSpPr>
              <p:spPr bwMode="auto">
                <a:xfrm>
                  <a:off x="6491744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0" name="Freeform 486"/>
                <p:cNvSpPr>
                  <a:spLocks/>
                </p:cNvSpPr>
                <p:nvPr/>
              </p:nvSpPr>
              <p:spPr bwMode="auto">
                <a:xfrm>
                  <a:off x="6388900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1" name="Freeform 487"/>
                <p:cNvSpPr>
                  <a:spLocks/>
                </p:cNvSpPr>
                <p:nvPr/>
              </p:nvSpPr>
              <p:spPr bwMode="auto">
                <a:xfrm>
                  <a:off x="6388899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2" name="Freeform 492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3" name="Freeform 493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4" name="Freeform 494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5" name="Freeform 495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6" name="Freeform 496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7" name="Freeform 497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8" name="Freeform 498"/>
                <p:cNvSpPr>
                  <a:spLocks/>
                </p:cNvSpPr>
                <p:nvPr/>
              </p:nvSpPr>
              <p:spPr bwMode="auto">
                <a:xfrm>
                  <a:off x="5221197" y="2287444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9" name="Freeform 499"/>
                <p:cNvSpPr>
                  <a:spLocks/>
                </p:cNvSpPr>
                <p:nvPr/>
              </p:nvSpPr>
              <p:spPr bwMode="auto">
                <a:xfrm>
                  <a:off x="5221197" y="2287442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0" name="Freeform 500"/>
                <p:cNvSpPr>
                  <a:spLocks/>
                </p:cNvSpPr>
                <p:nvPr/>
              </p:nvSpPr>
              <p:spPr bwMode="auto">
                <a:xfrm>
                  <a:off x="5221193" y="2277803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1" name="Freeform 501"/>
                <p:cNvSpPr>
                  <a:spLocks/>
                </p:cNvSpPr>
                <p:nvPr/>
              </p:nvSpPr>
              <p:spPr bwMode="auto">
                <a:xfrm>
                  <a:off x="5221189" y="2277807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2" name="Freeform 502"/>
                <p:cNvSpPr>
                  <a:spLocks/>
                </p:cNvSpPr>
                <p:nvPr/>
              </p:nvSpPr>
              <p:spPr bwMode="auto">
                <a:xfrm>
                  <a:off x="5136562" y="2202846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3" name="Freeform 503"/>
                <p:cNvSpPr>
                  <a:spLocks/>
                </p:cNvSpPr>
                <p:nvPr/>
              </p:nvSpPr>
              <p:spPr bwMode="auto">
                <a:xfrm>
                  <a:off x="5136562" y="2202849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4" name="Freeform 504"/>
                <p:cNvSpPr>
                  <a:spLocks/>
                </p:cNvSpPr>
                <p:nvPr/>
              </p:nvSpPr>
              <p:spPr bwMode="auto">
                <a:xfrm>
                  <a:off x="4931933" y="2147164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5" name="Freeform 505"/>
                <p:cNvSpPr>
                  <a:spLocks/>
                </p:cNvSpPr>
                <p:nvPr/>
              </p:nvSpPr>
              <p:spPr bwMode="auto">
                <a:xfrm>
                  <a:off x="4931932" y="2147166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6" name="Freeform 506"/>
                <p:cNvSpPr>
                  <a:spLocks/>
                </p:cNvSpPr>
                <p:nvPr/>
              </p:nvSpPr>
              <p:spPr bwMode="auto">
                <a:xfrm>
                  <a:off x="4903019" y="2137529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7" name="Freeform 507"/>
                <p:cNvSpPr>
                  <a:spLocks/>
                </p:cNvSpPr>
                <p:nvPr/>
              </p:nvSpPr>
              <p:spPr bwMode="auto">
                <a:xfrm>
                  <a:off x="4903034" y="2137535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8" name="Freeform 508"/>
                <p:cNvSpPr>
                  <a:spLocks/>
                </p:cNvSpPr>
                <p:nvPr/>
              </p:nvSpPr>
              <p:spPr bwMode="auto">
                <a:xfrm>
                  <a:off x="4912708" y="2119319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9" name="Freeform 509"/>
                <p:cNvSpPr>
                  <a:spLocks/>
                </p:cNvSpPr>
                <p:nvPr/>
              </p:nvSpPr>
              <p:spPr bwMode="auto">
                <a:xfrm>
                  <a:off x="4912735" y="2119331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9" name="Freeform 510"/>
              <p:cNvSpPr>
                <a:spLocks/>
              </p:cNvSpPr>
              <p:nvPr/>
            </p:nvSpPr>
            <p:spPr bwMode="auto">
              <a:xfrm>
                <a:off x="3829600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0" name="Freeform 511"/>
              <p:cNvSpPr>
                <a:spLocks/>
              </p:cNvSpPr>
              <p:nvPr/>
            </p:nvSpPr>
            <p:spPr bwMode="auto">
              <a:xfrm>
                <a:off x="3829601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1" name="Freeform 512"/>
              <p:cNvSpPr>
                <a:spLocks/>
              </p:cNvSpPr>
              <p:nvPr/>
            </p:nvSpPr>
            <p:spPr bwMode="auto">
              <a:xfrm>
                <a:off x="3847814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2" name="Freeform 513"/>
              <p:cNvSpPr>
                <a:spLocks/>
              </p:cNvSpPr>
              <p:nvPr/>
            </p:nvSpPr>
            <p:spPr bwMode="auto">
              <a:xfrm>
                <a:off x="3847815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3" name="Freeform 514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4" name="Freeform 515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5" name="Freeform 519"/>
              <p:cNvSpPr>
                <a:spLocks/>
              </p:cNvSpPr>
              <p:nvPr/>
            </p:nvSpPr>
            <p:spPr bwMode="auto">
              <a:xfrm>
                <a:off x="4950170" y="2436284"/>
                <a:ext cx="149980" cy="158488"/>
              </a:xfrm>
              <a:custGeom>
                <a:avLst/>
                <a:gdLst>
                  <a:gd name="T0" fmla="*/ 2147483647 w 140"/>
                  <a:gd name="T1" fmla="*/ 0 h 148"/>
                  <a:gd name="T2" fmla="*/ 2147483647 w 140"/>
                  <a:gd name="T3" fmla="*/ 2147483647 h 148"/>
                  <a:gd name="T4" fmla="*/ 0 w 140"/>
                  <a:gd name="T5" fmla="*/ 2147483647 h 148"/>
                  <a:gd name="T6" fmla="*/ 2147483647 w 140"/>
                  <a:gd name="T7" fmla="*/ 2147483647 h 148"/>
                  <a:gd name="T8" fmla="*/ 2147483647 w 140"/>
                  <a:gd name="T9" fmla="*/ 2147483647 h 148"/>
                  <a:gd name="T10" fmla="*/ 2147483647 w 140"/>
                  <a:gd name="T11" fmla="*/ 2147483647 h 148"/>
                  <a:gd name="T12" fmla="*/ 2147483647 w 140"/>
                  <a:gd name="T13" fmla="*/ 2147483647 h 148"/>
                  <a:gd name="T14" fmla="*/ 2147483647 w 140"/>
                  <a:gd name="T15" fmla="*/ 2147483647 h 148"/>
                  <a:gd name="T16" fmla="*/ 2147483647 w 140"/>
                  <a:gd name="T17" fmla="*/ 0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0"/>
                  <a:gd name="T28" fmla="*/ 0 h 148"/>
                  <a:gd name="T29" fmla="*/ 140 w 140"/>
                  <a:gd name="T30" fmla="*/ 148 h 1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0" h="148">
                    <a:moveTo>
                      <a:pt x="70" y="0"/>
                    </a:moveTo>
                    <a:lnTo>
                      <a:pt x="9" y="26"/>
                    </a:lnTo>
                    <a:lnTo>
                      <a:pt x="0" y="87"/>
                    </a:lnTo>
                    <a:lnTo>
                      <a:pt x="61" y="87"/>
                    </a:lnTo>
                    <a:lnTo>
                      <a:pt x="105" y="113"/>
                    </a:lnTo>
                    <a:lnTo>
                      <a:pt x="96" y="140"/>
                    </a:lnTo>
                    <a:lnTo>
                      <a:pt x="140" y="148"/>
                    </a:lnTo>
                    <a:lnTo>
                      <a:pt x="78" y="6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6" name="Freeform 530"/>
              <p:cNvSpPr>
                <a:spLocks/>
              </p:cNvSpPr>
              <p:nvPr/>
            </p:nvSpPr>
            <p:spPr bwMode="auto">
              <a:xfrm>
                <a:off x="4706988" y="2352757"/>
                <a:ext cx="298890" cy="372662"/>
              </a:xfrm>
              <a:custGeom>
                <a:avLst/>
                <a:gdLst>
                  <a:gd name="T0" fmla="*/ 2147483647 w 279"/>
                  <a:gd name="T1" fmla="*/ 2147483647 h 348"/>
                  <a:gd name="T2" fmla="*/ 2147483647 w 279"/>
                  <a:gd name="T3" fmla="*/ 2147483647 h 348"/>
                  <a:gd name="T4" fmla="*/ 2147483647 w 279"/>
                  <a:gd name="T5" fmla="*/ 2147483647 h 348"/>
                  <a:gd name="T6" fmla="*/ 2147483647 w 279"/>
                  <a:gd name="T7" fmla="*/ 2147483647 h 348"/>
                  <a:gd name="T8" fmla="*/ 0 w 279"/>
                  <a:gd name="T9" fmla="*/ 2147483647 h 348"/>
                  <a:gd name="T10" fmla="*/ 2147483647 w 279"/>
                  <a:gd name="T11" fmla="*/ 2147483647 h 348"/>
                  <a:gd name="T12" fmla="*/ 2147483647 w 279"/>
                  <a:gd name="T13" fmla="*/ 2147483647 h 348"/>
                  <a:gd name="T14" fmla="*/ 2147483647 w 279"/>
                  <a:gd name="T15" fmla="*/ 2147483647 h 348"/>
                  <a:gd name="T16" fmla="*/ 2147483647 w 279"/>
                  <a:gd name="T17" fmla="*/ 2147483647 h 348"/>
                  <a:gd name="T18" fmla="*/ 2147483647 w 279"/>
                  <a:gd name="T19" fmla="*/ 2147483647 h 348"/>
                  <a:gd name="T20" fmla="*/ 2147483647 w 279"/>
                  <a:gd name="T21" fmla="*/ 2147483647 h 348"/>
                  <a:gd name="T22" fmla="*/ 2147483647 w 279"/>
                  <a:gd name="T23" fmla="*/ 2147483647 h 348"/>
                  <a:gd name="T24" fmla="*/ 2147483647 w 279"/>
                  <a:gd name="T25" fmla="*/ 2147483647 h 348"/>
                  <a:gd name="T26" fmla="*/ 2147483647 w 279"/>
                  <a:gd name="T27" fmla="*/ 2147483647 h 348"/>
                  <a:gd name="T28" fmla="*/ 2147483647 w 279"/>
                  <a:gd name="T29" fmla="*/ 2147483647 h 348"/>
                  <a:gd name="T30" fmla="*/ 2147483647 w 279"/>
                  <a:gd name="T31" fmla="*/ 2147483647 h 348"/>
                  <a:gd name="T32" fmla="*/ 2147483647 w 279"/>
                  <a:gd name="T33" fmla="*/ 2147483647 h 348"/>
                  <a:gd name="T34" fmla="*/ 2147483647 w 279"/>
                  <a:gd name="T35" fmla="*/ 2147483647 h 348"/>
                  <a:gd name="T36" fmla="*/ 2147483647 w 279"/>
                  <a:gd name="T37" fmla="*/ 2147483647 h 348"/>
                  <a:gd name="T38" fmla="*/ 2147483647 w 279"/>
                  <a:gd name="T39" fmla="*/ 2147483647 h 348"/>
                  <a:gd name="T40" fmla="*/ 2147483647 w 279"/>
                  <a:gd name="T41" fmla="*/ 2147483647 h 348"/>
                  <a:gd name="T42" fmla="*/ 2147483647 w 279"/>
                  <a:gd name="T43" fmla="*/ 2147483647 h 348"/>
                  <a:gd name="T44" fmla="*/ 2147483647 w 279"/>
                  <a:gd name="T45" fmla="*/ 2147483647 h 348"/>
                  <a:gd name="T46" fmla="*/ 2147483647 w 279"/>
                  <a:gd name="T47" fmla="*/ 2147483647 h 348"/>
                  <a:gd name="T48" fmla="*/ 2147483647 w 279"/>
                  <a:gd name="T49" fmla="*/ 2147483647 h 348"/>
                  <a:gd name="T50" fmla="*/ 2147483647 w 279"/>
                  <a:gd name="T51" fmla="*/ 2147483647 h 348"/>
                  <a:gd name="T52" fmla="*/ 2147483647 w 279"/>
                  <a:gd name="T53" fmla="*/ 2147483647 h 348"/>
                  <a:gd name="T54" fmla="*/ 2147483647 w 279"/>
                  <a:gd name="T55" fmla="*/ 0 h 348"/>
                  <a:gd name="T56" fmla="*/ 2147483647 w 279"/>
                  <a:gd name="T57" fmla="*/ 2147483647 h 348"/>
                  <a:gd name="T58" fmla="*/ 2147483647 w 279"/>
                  <a:gd name="T59" fmla="*/ 2147483647 h 348"/>
                  <a:gd name="T60" fmla="*/ 2147483647 w 279"/>
                  <a:gd name="T61" fmla="*/ 2147483647 h 34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9"/>
                  <a:gd name="T94" fmla="*/ 0 h 348"/>
                  <a:gd name="T95" fmla="*/ 279 w 279"/>
                  <a:gd name="T96" fmla="*/ 348 h 34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9" h="348">
                    <a:moveTo>
                      <a:pt x="53" y="43"/>
                    </a:moveTo>
                    <a:lnTo>
                      <a:pt x="35" y="52"/>
                    </a:lnTo>
                    <a:lnTo>
                      <a:pt x="35" y="130"/>
                    </a:lnTo>
                    <a:lnTo>
                      <a:pt x="9" y="157"/>
                    </a:lnTo>
                    <a:lnTo>
                      <a:pt x="0" y="183"/>
                    </a:lnTo>
                    <a:lnTo>
                      <a:pt x="44" y="270"/>
                    </a:lnTo>
                    <a:lnTo>
                      <a:pt x="61" y="270"/>
                    </a:lnTo>
                    <a:lnTo>
                      <a:pt x="96" y="313"/>
                    </a:lnTo>
                    <a:lnTo>
                      <a:pt x="96" y="331"/>
                    </a:lnTo>
                    <a:lnTo>
                      <a:pt x="140" y="331"/>
                    </a:lnTo>
                    <a:lnTo>
                      <a:pt x="166" y="348"/>
                    </a:lnTo>
                    <a:lnTo>
                      <a:pt x="218" y="340"/>
                    </a:lnTo>
                    <a:lnTo>
                      <a:pt x="218" y="331"/>
                    </a:lnTo>
                    <a:lnTo>
                      <a:pt x="244" y="331"/>
                    </a:lnTo>
                    <a:lnTo>
                      <a:pt x="236" y="313"/>
                    </a:lnTo>
                    <a:lnTo>
                      <a:pt x="227" y="305"/>
                    </a:lnTo>
                    <a:lnTo>
                      <a:pt x="192" y="279"/>
                    </a:lnTo>
                    <a:lnTo>
                      <a:pt x="183" y="279"/>
                    </a:lnTo>
                    <a:lnTo>
                      <a:pt x="183" y="261"/>
                    </a:lnTo>
                    <a:lnTo>
                      <a:pt x="192" y="261"/>
                    </a:lnTo>
                    <a:lnTo>
                      <a:pt x="201" y="218"/>
                    </a:lnTo>
                    <a:lnTo>
                      <a:pt x="210" y="218"/>
                    </a:lnTo>
                    <a:lnTo>
                      <a:pt x="236" y="165"/>
                    </a:lnTo>
                    <a:lnTo>
                      <a:pt x="244" y="104"/>
                    </a:lnTo>
                    <a:lnTo>
                      <a:pt x="279" y="87"/>
                    </a:lnTo>
                    <a:lnTo>
                      <a:pt x="253" y="61"/>
                    </a:lnTo>
                    <a:lnTo>
                      <a:pt x="244" y="8"/>
                    </a:lnTo>
                    <a:lnTo>
                      <a:pt x="218" y="0"/>
                    </a:lnTo>
                    <a:lnTo>
                      <a:pt x="201" y="17"/>
                    </a:lnTo>
                    <a:lnTo>
                      <a:pt x="53" y="17"/>
                    </a:lnTo>
                    <a:lnTo>
                      <a:pt x="53" y="4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7" name="Freeform 532"/>
              <p:cNvSpPr>
                <a:spLocks/>
              </p:cNvSpPr>
              <p:nvPr/>
            </p:nvSpPr>
            <p:spPr bwMode="auto">
              <a:xfrm>
                <a:off x="4744483" y="2174994"/>
                <a:ext cx="196046" cy="195969"/>
              </a:xfrm>
              <a:custGeom>
                <a:avLst/>
                <a:gdLst>
                  <a:gd name="T0" fmla="*/ 2147483647 w 183"/>
                  <a:gd name="T1" fmla="*/ 2147483647 h 183"/>
                  <a:gd name="T2" fmla="*/ 2147483647 w 183"/>
                  <a:gd name="T3" fmla="*/ 2147483647 h 183"/>
                  <a:gd name="T4" fmla="*/ 2147483647 w 183"/>
                  <a:gd name="T5" fmla="*/ 2147483647 h 183"/>
                  <a:gd name="T6" fmla="*/ 2147483647 w 183"/>
                  <a:gd name="T7" fmla="*/ 2147483647 h 183"/>
                  <a:gd name="T8" fmla="*/ 2147483647 w 183"/>
                  <a:gd name="T9" fmla="*/ 2147483647 h 183"/>
                  <a:gd name="T10" fmla="*/ 2147483647 w 183"/>
                  <a:gd name="T11" fmla="*/ 2147483647 h 183"/>
                  <a:gd name="T12" fmla="*/ 2147483647 w 183"/>
                  <a:gd name="T13" fmla="*/ 0 h 183"/>
                  <a:gd name="T14" fmla="*/ 2147483647 w 183"/>
                  <a:gd name="T15" fmla="*/ 2147483647 h 183"/>
                  <a:gd name="T16" fmla="*/ 2147483647 w 183"/>
                  <a:gd name="T17" fmla="*/ 2147483647 h 183"/>
                  <a:gd name="T18" fmla="*/ 2147483647 w 183"/>
                  <a:gd name="T19" fmla="*/ 2147483647 h 183"/>
                  <a:gd name="T20" fmla="*/ 2147483647 w 183"/>
                  <a:gd name="T21" fmla="*/ 0 h 183"/>
                  <a:gd name="T22" fmla="*/ 0 w 183"/>
                  <a:gd name="T23" fmla="*/ 0 h 183"/>
                  <a:gd name="T24" fmla="*/ 2147483647 w 183"/>
                  <a:gd name="T25" fmla="*/ 2147483647 h 183"/>
                  <a:gd name="T26" fmla="*/ 0 w 183"/>
                  <a:gd name="T27" fmla="*/ 2147483647 h 183"/>
                  <a:gd name="T28" fmla="*/ 2147483647 w 183"/>
                  <a:gd name="T29" fmla="*/ 2147483647 h 183"/>
                  <a:gd name="T30" fmla="*/ 2147483647 w 183"/>
                  <a:gd name="T31" fmla="*/ 2147483647 h 183"/>
                  <a:gd name="T32" fmla="*/ 2147483647 w 183"/>
                  <a:gd name="T33" fmla="*/ 2147483647 h 183"/>
                  <a:gd name="T34" fmla="*/ 2147483647 w 183"/>
                  <a:gd name="T35" fmla="*/ 2147483647 h 183"/>
                  <a:gd name="T36" fmla="*/ 2147483647 w 183"/>
                  <a:gd name="T37" fmla="*/ 2147483647 h 183"/>
                  <a:gd name="T38" fmla="*/ 2147483647 w 183"/>
                  <a:gd name="T39" fmla="*/ 2147483647 h 183"/>
                  <a:gd name="T40" fmla="*/ 2147483647 w 183"/>
                  <a:gd name="T41" fmla="*/ 2147483647 h 183"/>
                  <a:gd name="T42" fmla="*/ 2147483647 w 183"/>
                  <a:gd name="T43" fmla="*/ 2147483647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3"/>
                  <a:gd name="T67" fmla="*/ 0 h 183"/>
                  <a:gd name="T68" fmla="*/ 183 w 183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3" h="183">
                    <a:moveTo>
                      <a:pt x="131" y="52"/>
                    </a:moveTo>
                    <a:lnTo>
                      <a:pt x="122" y="26"/>
                    </a:lnTo>
                    <a:lnTo>
                      <a:pt x="131" y="52"/>
                    </a:lnTo>
                    <a:lnTo>
                      <a:pt x="140" y="52"/>
                    </a:lnTo>
                    <a:lnTo>
                      <a:pt x="157" y="70"/>
                    </a:lnTo>
                    <a:lnTo>
                      <a:pt x="175" y="44"/>
                    </a:lnTo>
                    <a:lnTo>
                      <a:pt x="148" y="0"/>
                    </a:lnTo>
                    <a:lnTo>
                      <a:pt x="122" y="9"/>
                    </a:lnTo>
                    <a:lnTo>
                      <a:pt x="96" y="9"/>
                    </a:lnTo>
                    <a:lnTo>
                      <a:pt x="52" y="1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18" y="52"/>
                    </a:lnTo>
                    <a:lnTo>
                      <a:pt x="18" y="183"/>
                    </a:lnTo>
                    <a:lnTo>
                      <a:pt x="166" y="183"/>
                    </a:lnTo>
                    <a:lnTo>
                      <a:pt x="183" y="166"/>
                    </a:lnTo>
                    <a:lnTo>
                      <a:pt x="183" y="140"/>
                    </a:lnTo>
                    <a:lnTo>
                      <a:pt x="157" y="113"/>
                    </a:lnTo>
                    <a:lnTo>
                      <a:pt x="148" y="79"/>
                    </a:lnTo>
                    <a:lnTo>
                      <a:pt x="131" y="52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8" name="Freeform 586"/>
              <p:cNvSpPr>
                <a:spLocks/>
              </p:cNvSpPr>
              <p:nvPr/>
            </p:nvSpPr>
            <p:spPr bwMode="auto">
              <a:xfrm>
                <a:off x="4081355" y="2100033"/>
                <a:ext cx="223900" cy="159559"/>
              </a:xfrm>
              <a:custGeom>
                <a:avLst/>
                <a:gdLst>
                  <a:gd name="T0" fmla="*/ 2147483647 w 209"/>
                  <a:gd name="T1" fmla="*/ 2147483647 h 149"/>
                  <a:gd name="T2" fmla="*/ 2147483647 w 209"/>
                  <a:gd name="T3" fmla="*/ 0 h 149"/>
                  <a:gd name="T4" fmla="*/ 2147483647 w 209"/>
                  <a:gd name="T5" fmla="*/ 0 h 149"/>
                  <a:gd name="T6" fmla="*/ 2147483647 w 209"/>
                  <a:gd name="T7" fmla="*/ 0 h 149"/>
                  <a:gd name="T8" fmla="*/ 2147483647 w 209"/>
                  <a:gd name="T9" fmla="*/ 2147483647 h 149"/>
                  <a:gd name="T10" fmla="*/ 2147483647 w 209"/>
                  <a:gd name="T11" fmla="*/ 2147483647 h 149"/>
                  <a:gd name="T12" fmla="*/ 2147483647 w 209"/>
                  <a:gd name="T13" fmla="*/ 2147483647 h 149"/>
                  <a:gd name="T14" fmla="*/ 2147483647 w 209"/>
                  <a:gd name="T15" fmla="*/ 2147483647 h 149"/>
                  <a:gd name="T16" fmla="*/ 2147483647 w 209"/>
                  <a:gd name="T17" fmla="*/ 2147483647 h 149"/>
                  <a:gd name="T18" fmla="*/ 2147483647 w 209"/>
                  <a:gd name="T19" fmla="*/ 2147483647 h 149"/>
                  <a:gd name="T20" fmla="*/ 2147483647 w 209"/>
                  <a:gd name="T21" fmla="*/ 2147483647 h 149"/>
                  <a:gd name="T22" fmla="*/ 0 w 209"/>
                  <a:gd name="T23" fmla="*/ 2147483647 h 149"/>
                  <a:gd name="T24" fmla="*/ 2147483647 w 209"/>
                  <a:gd name="T25" fmla="*/ 2147483647 h 149"/>
                  <a:gd name="T26" fmla="*/ 2147483647 w 209"/>
                  <a:gd name="T27" fmla="*/ 2147483647 h 149"/>
                  <a:gd name="T28" fmla="*/ 2147483647 w 209"/>
                  <a:gd name="T29" fmla="*/ 2147483647 h 149"/>
                  <a:gd name="T30" fmla="*/ 2147483647 w 209"/>
                  <a:gd name="T31" fmla="*/ 2147483647 h 149"/>
                  <a:gd name="T32" fmla="*/ 2147483647 w 209"/>
                  <a:gd name="T33" fmla="*/ 2147483647 h 149"/>
                  <a:gd name="T34" fmla="*/ 2147483647 w 209"/>
                  <a:gd name="T35" fmla="*/ 2147483647 h 149"/>
                  <a:gd name="T36" fmla="*/ 2147483647 w 209"/>
                  <a:gd name="T37" fmla="*/ 2147483647 h 149"/>
                  <a:gd name="T38" fmla="*/ 2147483647 w 209"/>
                  <a:gd name="T39" fmla="*/ 2147483647 h 149"/>
                  <a:gd name="T40" fmla="*/ 2147483647 w 209"/>
                  <a:gd name="T41" fmla="*/ 2147483647 h 149"/>
                  <a:gd name="T42" fmla="*/ 2147483647 w 209"/>
                  <a:gd name="T43" fmla="*/ 2147483647 h 14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9"/>
                  <a:gd name="T67" fmla="*/ 0 h 149"/>
                  <a:gd name="T68" fmla="*/ 209 w 209"/>
                  <a:gd name="T69" fmla="*/ 149 h 14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9" h="149">
                    <a:moveTo>
                      <a:pt x="183" y="18"/>
                    </a:moveTo>
                    <a:lnTo>
                      <a:pt x="183" y="0"/>
                    </a:lnTo>
                    <a:lnTo>
                      <a:pt x="131" y="0"/>
                    </a:lnTo>
                    <a:lnTo>
                      <a:pt x="105" y="44"/>
                    </a:lnTo>
                    <a:lnTo>
                      <a:pt x="79" y="44"/>
                    </a:lnTo>
                    <a:lnTo>
                      <a:pt x="61" y="53"/>
                    </a:lnTo>
                    <a:lnTo>
                      <a:pt x="61" y="114"/>
                    </a:lnTo>
                    <a:lnTo>
                      <a:pt x="35" y="131"/>
                    </a:lnTo>
                    <a:lnTo>
                      <a:pt x="35" y="140"/>
                    </a:lnTo>
                    <a:lnTo>
                      <a:pt x="0" y="149"/>
                    </a:lnTo>
                    <a:lnTo>
                      <a:pt x="79" y="149"/>
                    </a:lnTo>
                    <a:lnTo>
                      <a:pt x="79" y="131"/>
                    </a:lnTo>
                    <a:lnTo>
                      <a:pt x="105" y="114"/>
                    </a:lnTo>
                    <a:lnTo>
                      <a:pt x="131" y="114"/>
                    </a:lnTo>
                    <a:lnTo>
                      <a:pt x="183" y="61"/>
                    </a:lnTo>
                    <a:lnTo>
                      <a:pt x="209" y="70"/>
                    </a:lnTo>
                    <a:lnTo>
                      <a:pt x="209" y="53"/>
                    </a:lnTo>
                    <a:lnTo>
                      <a:pt x="201" y="53"/>
                    </a:lnTo>
                    <a:lnTo>
                      <a:pt x="201" y="18"/>
                    </a:lnTo>
                    <a:lnTo>
                      <a:pt x="183" y="18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39" name="Group 355"/>
              <p:cNvGrpSpPr>
                <a:grpSpLocks/>
              </p:cNvGrpSpPr>
              <p:nvPr/>
            </p:nvGrpSpPr>
            <p:grpSpPr bwMode="auto">
              <a:xfrm>
                <a:off x="3867100" y="2062554"/>
                <a:ext cx="1447311" cy="1410330"/>
                <a:chOff x="3684589" y="2817813"/>
                <a:chExt cx="2144713" cy="2090738"/>
              </a:xfrm>
              <a:grpFill/>
            </p:grpSpPr>
            <p:sp>
              <p:nvSpPr>
                <p:cNvPr id="40" name="Freeform 528"/>
                <p:cNvSpPr>
                  <a:spLocks/>
                </p:cNvSpPr>
                <p:nvPr/>
              </p:nvSpPr>
              <p:spPr bwMode="auto">
                <a:xfrm>
                  <a:off x="5219701" y="3497263"/>
                  <a:ext cx="415925" cy="303213"/>
                </a:xfrm>
                <a:custGeom>
                  <a:avLst/>
                  <a:gdLst>
                    <a:gd name="T0" fmla="*/ 0 w 262"/>
                    <a:gd name="T1" fmla="*/ 2147483647 h 191"/>
                    <a:gd name="T2" fmla="*/ 0 w 262"/>
                    <a:gd name="T3" fmla="*/ 2147483647 h 191"/>
                    <a:gd name="T4" fmla="*/ 2147483647 w 262"/>
                    <a:gd name="T5" fmla="*/ 2147483647 h 191"/>
                    <a:gd name="T6" fmla="*/ 2147483647 w 262"/>
                    <a:gd name="T7" fmla="*/ 2147483647 h 191"/>
                    <a:gd name="T8" fmla="*/ 2147483647 w 262"/>
                    <a:gd name="T9" fmla="*/ 2147483647 h 191"/>
                    <a:gd name="T10" fmla="*/ 2147483647 w 262"/>
                    <a:gd name="T11" fmla="*/ 2147483647 h 191"/>
                    <a:gd name="T12" fmla="*/ 2147483647 w 262"/>
                    <a:gd name="T13" fmla="*/ 2147483647 h 191"/>
                    <a:gd name="T14" fmla="*/ 2147483647 w 262"/>
                    <a:gd name="T15" fmla="*/ 2147483647 h 191"/>
                    <a:gd name="T16" fmla="*/ 2147483647 w 262"/>
                    <a:gd name="T17" fmla="*/ 2147483647 h 191"/>
                    <a:gd name="T18" fmla="*/ 2147483647 w 262"/>
                    <a:gd name="T19" fmla="*/ 2147483647 h 191"/>
                    <a:gd name="T20" fmla="*/ 2147483647 w 262"/>
                    <a:gd name="T21" fmla="*/ 2147483647 h 191"/>
                    <a:gd name="T22" fmla="*/ 2147483647 w 262"/>
                    <a:gd name="T23" fmla="*/ 2147483647 h 191"/>
                    <a:gd name="T24" fmla="*/ 2147483647 w 262"/>
                    <a:gd name="T25" fmla="*/ 2147483647 h 191"/>
                    <a:gd name="T26" fmla="*/ 2147483647 w 262"/>
                    <a:gd name="T27" fmla="*/ 2147483647 h 191"/>
                    <a:gd name="T28" fmla="*/ 2147483647 w 262"/>
                    <a:gd name="T29" fmla="*/ 2147483647 h 191"/>
                    <a:gd name="T30" fmla="*/ 2147483647 w 262"/>
                    <a:gd name="T31" fmla="*/ 2147483647 h 191"/>
                    <a:gd name="T32" fmla="*/ 2147483647 w 262"/>
                    <a:gd name="T33" fmla="*/ 2147483647 h 191"/>
                    <a:gd name="T34" fmla="*/ 2147483647 w 262"/>
                    <a:gd name="T35" fmla="*/ 0 h 191"/>
                    <a:gd name="T36" fmla="*/ 2147483647 w 262"/>
                    <a:gd name="T37" fmla="*/ 2147483647 h 191"/>
                    <a:gd name="T38" fmla="*/ 2147483647 w 262"/>
                    <a:gd name="T39" fmla="*/ 2147483647 h 191"/>
                    <a:gd name="T40" fmla="*/ 2147483647 w 262"/>
                    <a:gd name="T41" fmla="*/ 2147483647 h 191"/>
                    <a:gd name="T42" fmla="*/ 2147483647 w 262"/>
                    <a:gd name="T43" fmla="*/ 2147483647 h 191"/>
                    <a:gd name="T44" fmla="*/ 0 w 262"/>
                    <a:gd name="T45" fmla="*/ 2147483647 h 19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2"/>
                    <a:gd name="T70" fmla="*/ 0 h 191"/>
                    <a:gd name="T71" fmla="*/ 262 w 262"/>
                    <a:gd name="T72" fmla="*/ 191 h 19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2" h="191">
                      <a:moveTo>
                        <a:pt x="0" y="104"/>
                      </a:moveTo>
                      <a:lnTo>
                        <a:pt x="0" y="122"/>
                      </a:lnTo>
                      <a:lnTo>
                        <a:pt x="9" y="122"/>
                      </a:lnTo>
                      <a:lnTo>
                        <a:pt x="44" y="148"/>
                      </a:lnTo>
                      <a:lnTo>
                        <a:pt x="53" y="156"/>
                      </a:lnTo>
                      <a:lnTo>
                        <a:pt x="61" y="174"/>
                      </a:lnTo>
                      <a:lnTo>
                        <a:pt x="122" y="191"/>
                      </a:lnTo>
                      <a:lnTo>
                        <a:pt x="149" y="183"/>
                      </a:lnTo>
                      <a:lnTo>
                        <a:pt x="166" y="183"/>
                      </a:lnTo>
                      <a:lnTo>
                        <a:pt x="192" y="165"/>
                      </a:lnTo>
                      <a:lnTo>
                        <a:pt x="210" y="165"/>
                      </a:lnTo>
                      <a:lnTo>
                        <a:pt x="227" y="148"/>
                      </a:lnTo>
                      <a:lnTo>
                        <a:pt x="262" y="113"/>
                      </a:lnTo>
                      <a:lnTo>
                        <a:pt x="184" y="87"/>
                      </a:lnTo>
                      <a:lnTo>
                        <a:pt x="149" y="43"/>
                      </a:lnTo>
                      <a:lnTo>
                        <a:pt x="157" y="26"/>
                      </a:lnTo>
                      <a:lnTo>
                        <a:pt x="140" y="8"/>
                      </a:lnTo>
                      <a:lnTo>
                        <a:pt x="114" y="0"/>
                      </a:lnTo>
                      <a:lnTo>
                        <a:pt x="53" y="8"/>
                      </a:lnTo>
                      <a:lnTo>
                        <a:pt x="27" y="61"/>
                      </a:lnTo>
                      <a:lnTo>
                        <a:pt x="18" y="61"/>
                      </a:lnTo>
                      <a:lnTo>
                        <a:pt x="9" y="104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grpSp>
              <p:nvGrpSpPr>
                <p:cNvPr id="41" name="Group 357"/>
                <p:cNvGrpSpPr>
                  <a:grpSpLocks/>
                </p:cNvGrpSpPr>
                <p:nvPr/>
              </p:nvGrpSpPr>
              <p:grpSpPr bwMode="auto">
                <a:xfrm>
                  <a:off x="3684589" y="2817813"/>
                  <a:ext cx="2144713" cy="2090738"/>
                  <a:chOff x="3684589" y="2817813"/>
                  <a:chExt cx="2144713" cy="2090738"/>
                </a:xfrm>
                <a:grpFill/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4943476" y="3524251"/>
                    <a:ext cx="373063" cy="276225"/>
                  </a:xfrm>
                  <a:custGeom>
                    <a:avLst/>
                    <a:gdLst>
                      <a:gd name="T0" fmla="*/ 2147483647 w 235"/>
                      <a:gd name="T1" fmla="*/ 2147483647 h 174"/>
                      <a:gd name="T2" fmla="*/ 2147483647 w 235"/>
                      <a:gd name="T3" fmla="*/ 2147483647 h 174"/>
                      <a:gd name="T4" fmla="*/ 2147483647 w 235"/>
                      <a:gd name="T5" fmla="*/ 2147483647 h 174"/>
                      <a:gd name="T6" fmla="*/ 2147483647 w 235"/>
                      <a:gd name="T7" fmla="*/ 2147483647 h 174"/>
                      <a:gd name="T8" fmla="*/ 2147483647 w 235"/>
                      <a:gd name="T9" fmla="*/ 2147483647 h 174"/>
                      <a:gd name="T10" fmla="*/ 2147483647 w 235"/>
                      <a:gd name="T11" fmla="*/ 2147483647 h 174"/>
                      <a:gd name="T12" fmla="*/ 2147483647 w 235"/>
                      <a:gd name="T13" fmla="*/ 2147483647 h 174"/>
                      <a:gd name="T14" fmla="*/ 2147483647 w 235"/>
                      <a:gd name="T15" fmla="*/ 2147483647 h 174"/>
                      <a:gd name="T16" fmla="*/ 2147483647 w 235"/>
                      <a:gd name="T17" fmla="*/ 2147483647 h 174"/>
                      <a:gd name="T18" fmla="*/ 2147483647 w 235"/>
                      <a:gd name="T19" fmla="*/ 2147483647 h 174"/>
                      <a:gd name="T20" fmla="*/ 2147483647 w 235"/>
                      <a:gd name="T21" fmla="*/ 2147483647 h 174"/>
                      <a:gd name="T22" fmla="*/ 2147483647 w 235"/>
                      <a:gd name="T23" fmla="*/ 2147483647 h 174"/>
                      <a:gd name="T24" fmla="*/ 2147483647 w 235"/>
                      <a:gd name="T25" fmla="*/ 2147483647 h 174"/>
                      <a:gd name="T26" fmla="*/ 2147483647 w 235"/>
                      <a:gd name="T27" fmla="*/ 0 h 174"/>
                      <a:gd name="T28" fmla="*/ 0 w 235"/>
                      <a:gd name="T29" fmla="*/ 2147483647 h 174"/>
                      <a:gd name="T30" fmla="*/ 2147483647 w 235"/>
                      <a:gd name="T31" fmla="*/ 2147483647 h 174"/>
                      <a:gd name="T32" fmla="*/ 2147483647 w 235"/>
                      <a:gd name="T33" fmla="*/ 2147483647 h 174"/>
                      <a:gd name="T34" fmla="*/ 2147483647 w 235"/>
                      <a:gd name="T35" fmla="*/ 2147483647 h 174"/>
                      <a:gd name="T36" fmla="*/ 2147483647 w 235"/>
                      <a:gd name="T37" fmla="*/ 2147483647 h 174"/>
                      <a:gd name="T38" fmla="*/ 2147483647 w 235"/>
                      <a:gd name="T39" fmla="*/ 2147483647 h 174"/>
                      <a:gd name="T40" fmla="*/ 2147483647 w 235"/>
                      <a:gd name="T41" fmla="*/ 2147483647 h 174"/>
                      <a:gd name="T42" fmla="*/ 2147483647 w 235"/>
                      <a:gd name="T43" fmla="*/ 2147483647 h 174"/>
                      <a:gd name="T44" fmla="*/ 2147483647 w 235"/>
                      <a:gd name="T45" fmla="*/ 2147483647 h 174"/>
                      <a:gd name="T46" fmla="*/ 2147483647 w 235"/>
                      <a:gd name="T47" fmla="*/ 2147483647 h 174"/>
                      <a:gd name="T48" fmla="*/ 2147483647 w 235"/>
                      <a:gd name="T49" fmla="*/ 2147483647 h 174"/>
                      <a:gd name="T50" fmla="*/ 2147483647 w 235"/>
                      <a:gd name="T51" fmla="*/ 2147483647 h 174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35"/>
                      <a:gd name="T79" fmla="*/ 0 h 174"/>
                      <a:gd name="T80" fmla="*/ 235 w 235"/>
                      <a:gd name="T81" fmla="*/ 174 h 174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35" h="174">
                        <a:moveTo>
                          <a:pt x="218" y="131"/>
                        </a:moveTo>
                        <a:lnTo>
                          <a:pt x="183" y="105"/>
                        </a:lnTo>
                        <a:lnTo>
                          <a:pt x="174" y="105"/>
                        </a:lnTo>
                        <a:lnTo>
                          <a:pt x="174" y="87"/>
                        </a:lnTo>
                        <a:lnTo>
                          <a:pt x="183" y="87"/>
                        </a:lnTo>
                        <a:lnTo>
                          <a:pt x="192" y="44"/>
                        </a:lnTo>
                        <a:lnTo>
                          <a:pt x="201" y="44"/>
                        </a:lnTo>
                        <a:lnTo>
                          <a:pt x="209" y="35"/>
                        </a:lnTo>
                        <a:lnTo>
                          <a:pt x="201" y="35"/>
                        </a:lnTo>
                        <a:lnTo>
                          <a:pt x="183" y="17"/>
                        </a:lnTo>
                        <a:lnTo>
                          <a:pt x="183" y="9"/>
                        </a:lnTo>
                        <a:lnTo>
                          <a:pt x="174" y="9"/>
                        </a:lnTo>
                        <a:lnTo>
                          <a:pt x="113" y="26"/>
                        </a:lnTo>
                        <a:lnTo>
                          <a:pt x="70" y="0"/>
                        </a:lnTo>
                        <a:lnTo>
                          <a:pt x="0" y="26"/>
                        </a:lnTo>
                        <a:lnTo>
                          <a:pt x="35" y="96"/>
                        </a:lnTo>
                        <a:lnTo>
                          <a:pt x="52" y="96"/>
                        </a:lnTo>
                        <a:lnTo>
                          <a:pt x="87" y="139"/>
                        </a:lnTo>
                        <a:lnTo>
                          <a:pt x="87" y="157"/>
                        </a:lnTo>
                        <a:lnTo>
                          <a:pt x="131" y="157"/>
                        </a:lnTo>
                        <a:lnTo>
                          <a:pt x="157" y="174"/>
                        </a:lnTo>
                        <a:lnTo>
                          <a:pt x="209" y="166"/>
                        </a:lnTo>
                        <a:lnTo>
                          <a:pt x="209" y="157"/>
                        </a:lnTo>
                        <a:lnTo>
                          <a:pt x="235" y="157"/>
                        </a:lnTo>
                        <a:lnTo>
                          <a:pt x="227" y="139"/>
                        </a:lnTo>
                        <a:lnTo>
                          <a:pt x="218" y="13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3" name="Freeform 7"/>
                  <p:cNvSpPr>
                    <a:spLocks/>
                  </p:cNvSpPr>
                  <p:nvPr/>
                </p:nvSpPr>
                <p:spPr bwMode="auto">
                  <a:xfrm>
                    <a:off x="4929189" y="3248027"/>
                    <a:ext cx="442913" cy="317500"/>
                  </a:xfrm>
                  <a:custGeom>
                    <a:avLst/>
                    <a:gdLst>
                      <a:gd name="T0" fmla="*/ 2147483647 w 279"/>
                      <a:gd name="T1" fmla="*/ 2147483647 h 200"/>
                      <a:gd name="T2" fmla="*/ 2147483647 w 279"/>
                      <a:gd name="T3" fmla="*/ 2147483647 h 200"/>
                      <a:gd name="T4" fmla="*/ 2147483647 w 279"/>
                      <a:gd name="T5" fmla="*/ 0 h 200"/>
                      <a:gd name="T6" fmla="*/ 2147483647 w 279"/>
                      <a:gd name="T7" fmla="*/ 2147483647 h 200"/>
                      <a:gd name="T8" fmla="*/ 2147483647 w 279"/>
                      <a:gd name="T9" fmla="*/ 2147483647 h 200"/>
                      <a:gd name="T10" fmla="*/ 2147483647 w 279"/>
                      <a:gd name="T11" fmla="*/ 2147483647 h 200"/>
                      <a:gd name="T12" fmla="*/ 2147483647 w 279"/>
                      <a:gd name="T13" fmla="*/ 2147483647 h 200"/>
                      <a:gd name="T14" fmla="*/ 2147483647 w 279"/>
                      <a:gd name="T15" fmla="*/ 2147483647 h 200"/>
                      <a:gd name="T16" fmla="*/ 2147483647 w 279"/>
                      <a:gd name="T17" fmla="*/ 2147483647 h 200"/>
                      <a:gd name="T18" fmla="*/ 0 w 279"/>
                      <a:gd name="T19" fmla="*/ 2147483647 h 200"/>
                      <a:gd name="T20" fmla="*/ 2147483647 w 279"/>
                      <a:gd name="T21" fmla="*/ 2147483647 h 200"/>
                      <a:gd name="T22" fmla="*/ 2147483647 w 279"/>
                      <a:gd name="T23" fmla="*/ 2147483647 h 200"/>
                      <a:gd name="T24" fmla="*/ 2147483647 w 279"/>
                      <a:gd name="T25" fmla="*/ 2147483647 h 200"/>
                      <a:gd name="T26" fmla="*/ 2147483647 w 279"/>
                      <a:gd name="T27" fmla="*/ 2147483647 h 200"/>
                      <a:gd name="T28" fmla="*/ 2147483647 w 279"/>
                      <a:gd name="T29" fmla="*/ 2147483647 h 200"/>
                      <a:gd name="T30" fmla="*/ 2147483647 w 279"/>
                      <a:gd name="T31" fmla="*/ 2147483647 h 200"/>
                      <a:gd name="T32" fmla="*/ 2147483647 w 279"/>
                      <a:gd name="T33" fmla="*/ 2147483647 h 200"/>
                      <a:gd name="T34" fmla="*/ 2147483647 w 279"/>
                      <a:gd name="T35" fmla="*/ 2147483647 h 200"/>
                      <a:gd name="T36" fmla="*/ 2147483647 w 279"/>
                      <a:gd name="T37" fmla="*/ 2147483647 h 200"/>
                      <a:gd name="T38" fmla="*/ 2147483647 w 279"/>
                      <a:gd name="T39" fmla="*/ 2147483647 h 200"/>
                      <a:gd name="T40" fmla="*/ 2147483647 w 279"/>
                      <a:gd name="T41" fmla="*/ 2147483647 h 200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79"/>
                      <a:gd name="T64" fmla="*/ 0 h 200"/>
                      <a:gd name="T65" fmla="*/ 279 w 279"/>
                      <a:gd name="T66" fmla="*/ 200 h 200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79" h="200">
                        <a:moveTo>
                          <a:pt x="253" y="61"/>
                        </a:moveTo>
                        <a:lnTo>
                          <a:pt x="244" y="8"/>
                        </a:lnTo>
                        <a:lnTo>
                          <a:pt x="218" y="0"/>
                        </a:lnTo>
                        <a:lnTo>
                          <a:pt x="201" y="17"/>
                        </a:lnTo>
                        <a:lnTo>
                          <a:pt x="53" y="17"/>
                        </a:lnTo>
                        <a:lnTo>
                          <a:pt x="53" y="43"/>
                        </a:lnTo>
                        <a:lnTo>
                          <a:pt x="35" y="52"/>
                        </a:lnTo>
                        <a:lnTo>
                          <a:pt x="35" y="130"/>
                        </a:lnTo>
                        <a:lnTo>
                          <a:pt x="9" y="157"/>
                        </a:lnTo>
                        <a:lnTo>
                          <a:pt x="0" y="183"/>
                        </a:lnTo>
                        <a:lnTo>
                          <a:pt x="9" y="183"/>
                        </a:lnTo>
                        <a:lnTo>
                          <a:pt x="79" y="165"/>
                        </a:lnTo>
                        <a:lnTo>
                          <a:pt x="131" y="183"/>
                        </a:lnTo>
                        <a:lnTo>
                          <a:pt x="175" y="174"/>
                        </a:lnTo>
                        <a:lnTo>
                          <a:pt x="210" y="157"/>
                        </a:lnTo>
                        <a:lnTo>
                          <a:pt x="210" y="191"/>
                        </a:lnTo>
                        <a:lnTo>
                          <a:pt x="218" y="200"/>
                        </a:lnTo>
                        <a:lnTo>
                          <a:pt x="236" y="165"/>
                        </a:lnTo>
                        <a:lnTo>
                          <a:pt x="244" y="104"/>
                        </a:lnTo>
                        <a:lnTo>
                          <a:pt x="279" y="87"/>
                        </a:lnTo>
                        <a:lnTo>
                          <a:pt x="253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4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5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6" name="Freeform 297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7" name="Freeform 298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8" name="Freeform 299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9" name="Freeform 300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0" name="Freeform 488"/>
                  <p:cNvSpPr>
                    <a:spLocks/>
                  </p:cNvSpPr>
                  <p:nvPr/>
                </p:nvSpPr>
                <p:spPr bwMode="auto">
                  <a:xfrm>
                    <a:off x="4556126" y="2817813"/>
                    <a:ext cx="96838" cy="222250"/>
                  </a:xfrm>
                  <a:custGeom>
                    <a:avLst/>
                    <a:gdLst>
                      <a:gd name="T0" fmla="*/ 2147483647 w 61"/>
                      <a:gd name="T1" fmla="*/ 2147483647 h 140"/>
                      <a:gd name="T2" fmla="*/ 2147483647 w 61"/>
                      <a:gd name="T3" fmla="*/ 2147483647 h 140"/>
                      <a:gd name="T4" fmla="*/ 2147483647 w 61"/>
                      <a:gd name="T5" fmla="*/ 0 h 140"/>
                      <a:gd name="T6" fmla="*/ 0 w 61"/>
                      <a:gd name="T7" fmla="*/ 2147483647 h 140"/>
                      <a:gd name="T8" fmla="*/ 2147483647 w 61"/>
                      <a:gd name="T9" fmla="*/ 2147483647 h 140"/>
                      <a:gd name="T10" fmla="*/ 2147483647 w 61"/>
                      <a:gd name="T11" fmla="*/ 2147483647 h 140"/>
                      <a:gd name="T12" fmla="*/ 2147483647 w 61"/>
                      <a:gd name="T13" fmla="*/ 2147483647 h 140"/>
                      <a:gd name="T14" fmla="*/ 2147483647 w 61"/>
                      <a:gd name="T15" fmla="*/ 2147483647 h 140"/>
                      <a:gd name="T16" fmla="*/ 2147483647 w 61"/>
                      <a:gd name="T17" fmla="*/ 2147483647 h 140"/>
                      <a:gd name="T18" fmla="*/ 2147483647 w 61"/>
                      <a:gd name="T19" fmla="*/ 2147483647 h 140"/>
                      <a:gd name="T20" fmla="*/ 2147483647 w 61"/>
                      <a:gd name="T21" fmla="*/ 2147483647 h 140"/>
                      <a:gd name="T22" fmla="*/ 2147483647 w 61"/>
                      <a:gd name="T23" fmla="*/ 2147483647 h 140"/>
                      <a:gd name="T24" fmla="*/ 2147483647 w 61"/>
                      <a:gd name="T25" fmla="*/ 2147483647 h 140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61"/>
                      <a:gd name="T40" fmla="*/ 0 h 140"/>
                      <a:gd name="T41" fmla="*/ 61 w 61"/>
                      <a:gd name="T42" fmla="*/ 140 h 140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61" h="140">
                        <a:moveTo>
                          <a:pt x="35" y="27"/>
                        </a:moveTo>
                        <a:lnTo>
                          <a:pt x="35" y="18"/>
                        </a:lnTo>
                        <a:lnTo>
                          <a:pt x="17" y="0"/>
                        </a:lnTo>
                        <a:lnTo>
                          <a:pt x="0" y="70"/>
                        </a:lnTo>
                        <a:lnTo>
                          <a:pt x="26" y="140"/>
                        </a:lnTo>
                        <a:lnTo>
                          <a:pt x="43" y="123"/>
                        </a:lnTo>
                        <a:lnTo>
                          <a:pt x="43" y="105"/>
                        </a:lnTo>
                        <a:lnTo>
                          <a:pt x="52" y="96"/>
                        </a:lnTo>
                        <a:lnTo>
                          <a:pt x="61" y="79"/>
                        </a:lnTo>
                        <a:lnTo>
                          <a:pt x="26" y="61"/>
                        </a:lnTo>
                        <a:lnTo>
                          <a:pt x="35" y="44"/>
                        </a:lnTo>
                        <a:lnTo>
                          <a:pt x="26" y="27"/>
                        </a:lnTo>
                        <a:lnTo>
                          <a:pt x="35" y="2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1" name="Freeform 490"/>
                  <p:cNvSpPr>
                    <a:spLocks/>
                  </p:cNvSpPr>
                  <p:nvPr/>
                </p:nvSpPr>
                <p:spPr bwMode="auto">
                  <a:xfrm>
                    <a:off x="4127501" y="2817813"/>
                    <a:ext cx="539750" cy="539750"/>
                  </a:xfrm>
                  <a:custGeom>
                    <a:avLst/>
                    <a:gdLst>
                      <a:gd name="T0" fmla="*/ 2147483647 w 340"/>
                      <a:gd name="T1" fmla="*/ 2147483647 h 340"/>
                      <a:gd name="T2" fmla="*/ 2147483647 w 340"/>
                      <a:gd name="T3" fmla="*/ 2147483647 h 340"/>
                      <a:gd name="T4" fmla="*/ 2147483647 w 340"/>
                      <a:gd name="T5" fmla="*/ 2147483647 h 340"/>
                      <a:gd name="T6" fmla="*/ 2147483647 w 340"/>
                      <a:gd name="T7" fmla="*/ 2147483647 h 340"/>
                      <a:gd name="T8" fmla="*/ 2147483647 w 340"/>
                      <a:gd name="T9" fmla="*/ 2147483647 h 340"/>
                      <a:gd name="T10" fmla="*/ 2147483647 w 340"/>
                      <a:gd name="T11" fmla="*/ 0 h 340"/>
                      <a:gd name="T12" fmla="*/ 2147483647 w 340"/>
                      <a:gd name="T13" fmla="*/ 2147483647 h 340"/>
                      <a:gd name="T14" fmla="*/ 2147483647 w 340"/>
                      <a:gd name="T15" fmla="*/ 2147483647 h 340"/>
                      <a:gd name="T16" fmla="*/ 2147483647 w 340"/>
                      <a:gd name="T17" fmla="*/ 2147483647 h 340"/>
                      <a:gd name="T18" fmla="*/ 2147483647 w 340"/>
                      <a:gd name="T19" fmla="*/ 2147483647 h 340"/>
                      <a:gd name="T20" fmla="*/ 2147483647 w 340"/>
                      <a:gd name="T21" fmla="*/ 2147483647 h 340"/>
                      <a:gd name="T22" fmla="*/ 2147483647 w 340"/>
                      <a:gd name="T23" fmla="*/ 2147483647 h 340"/>
                      <a:gd name="T24" fmla="*/ 2147483647 w 340"/>
                      <a:gd name="T25" fmla="*/ 2147483647 h 340"/>
                      <a:gd name="T26" fmla="*/ 2147483647 w 340"/>
                      <a:gd name="T27" fmla="*/ 2147483647 h 340"/>
                      <a:gd name="T28" fmla="*/ 2147483647 w 340"/>
                      <a:gd name="T29" fmla="*/ 2147483647 h 340"/>
                      <a:gd name="T30" fmla="*/ 2147483647 w 340"/>
                      <a:gd name="T31" fmla="*/ 2147483647 h 340"/>
                      <a:gd name="T32" fmla="*/ 0 w 340"/>
                      <a:gd name="T33" fmla="*/ 2147483647 h 340"/>
                      <a:gd name="T34" fmla="*/ 0 w 340"/>
                      <a:gd name="T35" fmla="*/ 2147483647 h 340"/>
                      <a:gd name="T36" fmla="*/ 2147483647 w 340"/>
                      <a:gd name="T37" fmla="*/ 2147483647 h 340"/>
                      <a:gd name="T38" fmla="*/ 2147483647 w 340"/>
                      <a:gd name="T39" fmla="*/ 2147483647 h 340"/>
                      <a:gd name="T40" fmla="*/ 2147483647 w 340"/>
                      <a:gd name="T41" fmla="*/ 2147483647 h 340"/>
                      <a:gd name="T42" fmla="*/ 2147483647 w 340"/>
                      <a:gd name="T43" fmla="*/ 2147483647 h 340"/>
                      <a:gd name="T44" fmla="*/ 2147483647 w 340"/>
                      <a:gd name="T45" fmla="*/ 2147483647 h 340"/>
                      <a:gd name="T46" fmla="*/ 2147483647 w 340"/>
                      <a:gd name="T47" fmla="*/ 2147483647 h 340"/>
                      <a:gd name="T48" fmla="*/ 2147483647 w 340"/>
                      <a:gd name="T49" fmla="*/ 2147483647 h 340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340"/>
                      <a:gd name="T76" fmla="*/ 0 h 340"/>
                      <a:gd name="T77" fmla="*/ 340 w 340"/>
                      <a:gd name="T78" fmla="*/ 340 h 340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340" h="340">
                        <a:moveTo>
                          <a:pt x="340" y="253"/>
                        </a:moveTo>
                        <a:lnTo>
                          <a:pt x="340" y="245"/>
                        </a:lnTo>
                        <a:lnTo>
                          <a:pt x="305" y="236"/>
                        </a:lnTo>
                        <a:lnTo>
                          <a:pt x="296" y="140"/>
                        </a:lnTo>
                        <a:lnTo>
                          <a:pt x="270" y="70"/>
                        </a:lnTo>
                        <a:lnTo>
                          <a:pt x="287" y="0"/>
                        </a:lnTo>
                        <a:lnTo>
                          <a:pt x="174" y="18"/>
                        </a:lnTo>
                        <a:lnTo>
                          <a:pt x="104" y="35"/>
                        </a:lnTo>
                        <a:lnTo>
                          <a:pt x="104" y="53"/>
                        </a:lnTo>
                        <a:lnTo>
                          <a:pt x="122" y="53"/>
                        </a:lnTo>
                        <a:lnTo>
                          <a:pt x="122" y="88"/>
                        </a:lnTo>
                        <a:lnTo>
                          <a:pt x="130" y="88"/>
                        </a:lnTo>
                        <a:lnTo>
                          <a:pt x="130" y="105"/>
                        </a:lnTo>
                        <a:lnTo>
                          <a:pt x="104" y="96"/>
                        </a:lnTo>
                        <a:lnTo>
                          <a:pt x="52" y="149"/>
                        </a:lnTo>
                        <a:lnTo>
                          <a:pt x="26" y="149"/>
                        </a:lnTo>
                        <a:lnTo>
                          <a:pt x="0" y="166"/>
                        </a:lnTo>
                        <a:lnTo>
                          <a:pt x="0" y="184"/>
                        </a:lnTo>
                        <a:lnTo>
                          <a:pt x="69" y="236"/>
                        </a:lnTo>
                        <a:lnTo>
                          <a:pt x="165" y="297"/>
                        </a:lnTo>
                        <a:lnTo>
                          <a:pt x="165" y="314"/>
                        </a:lnTo>
                        <a:lnTo>
                          <a:pt x="218" y="340"/>
                        </a:lnTo>
                        <a:lnTo>
                          <a:pt x="226" y="332"/>
                        </a:lnTo>
                        <a:lnTo>
                          <a:pt x="235" y="340"/>
                        </a:lnTo>
                        <a:lnTo>
                          <a:pt x="340" y="2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2" name="Freeform 516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3" name="Freeform 517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4" name="Freeform 518"/>
                  <p:cNvSpPr>
                    <a:spLocks/>
                  </p:cNvSpPr>
                  <p:nvPr/>
                </p:nvSpPr>
                <p:spPr bwMode="auto">
                  <a:xfrm>
                    <a:off x="5289551" y="3364792"/>
                    <a:ext cx="222251" cy="234950"/>
                  </a:xfrm>
                  <a:custGeom>
                    <a:avLst/>
                    <a:gdLst>
                      <a:gd name="T0" fmla="*/ 2147483647 w 140"/>
                      <a:gd name="T1" fmla="*/ 0 h 148"/>
                      <a:gd name="T2" fmla="*/ 2147483647 w 140"/>
                      <a:gd name="T3" fmla="*/ 2147483647 h 148"/>
                      <a:gd name="T4" fmla="*/ 0 w 140"/>
                      <a:gd name="T5" fmla="*/ 2147483647 h 148"/>
                      <a:gd name="T6" fmla="*/ 2147483647 w 140"/>
                      <a:gd name="T7" fmla="*/ 2147483647 h 148"/>
                      <a:gd name="T8" fmla="*/ 2147483647 w 140"/>
                      <a:gd name="T9" fmla="*/ 2147483647 h 148"/>
                      <a:gd name="T10" fmla="*/ 2147483647 w 140"/>
                      <a:gd name="T11" fmla="*/ 2147483647 h 148"/>
                      <a:gd name="T12" fmla="*/ 2147483647 w 140"/>
                      <a:gd name="T13" fmla="*/ 2147483647 h 148"/>
                      <a:gd name="T14" fmla="*/ 2147483647 w 140"/>
                      <a:gd name="T15" fmla="*/ 2147483647 h 148"/>
                      <a:gd name="T16" fmla="*/ 2147483647 w 140"/>
                      <a:gd name="T17" fmla="*/ 0 h 14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40"/>
                      <a:gd name="T28" fmla="*/ 0 h 148"/>
                      <a:gd name="T29" fmla="*/ 140 w 140"/>
                      <a:gd name="T30" fmla="*/ 148 h 14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40" h="148">
                        <a:moveTo>
                          <a:pt x="70" y="0"/>
                        </a:moveTo>
                        <a:lnTo>
                          <a:pt x="9" y="26"/>
                        </a:lnTo>
                        <a:lnTo>
                          <a:pt x="0" y="87"/>
                        </a:lnTo>
                        <a:lnTo>
                          <a:pt x="61" y="87"/>
                        </a:lnTo>
                        <a:lnTo>
                          <a:pt x="105" y="113"/>
                        </a:lnTo>
                        <a:lnTo>
                          <a:pt x="96" y="140"/>
                        </a:lnTo>
                        <a:lnTo>
                          <a:pt x="140" y="148"/>
                        </a:lnTo>
                        <a:lnTo>
                          <a:pt x="78" y="52"/>
                        </a:lnTo>
                        <a:lnTo>
                          <a:pt x="7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5" name="Freeform 520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6" name="Freeform 521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7" name="Freeform 522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8" name="Freeform 523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9" name="Freeform 524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0" name="Freeform 525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1" name="Freeform 526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2" name="Freeform 527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3" name="Freeform 529"/>
                  <p:cNvSpPr>
                    <a:spLocks/>
                  </p:cNvSpPr>
                  <p:nvPr/>
                </p:nvSpPr>
                <p:spPr bwMode="auto">
                  <a:xfrm>
                    <a:off x="5219701" y="3497263"/>
                    <a:ext cx="415925" cy="303213"/>
                  </a:xfrm>
                  <a:custGeom>
                    <a:avLst/>
                    <a:gdLst>
                      <a:gd name="T0" fmla="*/ 0 w 262"/>
                      <a:gd name="T1" fmla="*/ 2147483647 h 191"/>
                      <a:gd name="T2" fmla="*/ 0 w 262"/>
                      <a:gd name="T3" fmla="*/ 2147483647 h 191"/>
                      <a:gd name="T4" fmla="*/ 2147483647 w 262"/>
                      <a:gd name="T5" fmla="*/ 2147483647 h 191"/>
                      <a:gd name="T6" fmla="*/ 2147483647 w 262"/>
                      <a:gd name="T7" fmla="*/ 2147483647 h 191"/>
                      <a:gd name="T8" fmla="*/ 2147483647 w 262"/>
                      <a:gd name="T9" fmla="*/ 2147483647 h 191"/>
                      <a:gd name="T10" fmla="*/ 2147483647 w 262"/>
                      <a:gd name="T11" fmla="*/ 2147483647 h 191"/>
                      <a:gd name="T12" fmla="*/ 2147483647 w 262"/>
                      <a:gd name="T13" fmla="*/ 2147483647 h 191"/>
                      <a:gd name="T14" fmla="*/ 2147483647 w 262"/>
                      <a:gd name="T15" fmla="*/ 2147483647 h 191"/>
                      <a:gd name="T16" fmla="*/ 2147483647 w 262"/>
                      <a:gd name="T17" fmla="*/ 2147483647 h 191"/>
                      <a:gd name="T18" fmla="*/ 2147483647 w 262"/>
                      <a:gd name="T19" fmla="*/ 2147483647 h 191"/>
                      <a:gd name="T20" fmla="*/ 2147483647 w 262"/>
                      <a:gd name="T21" fmla="*/ 2147483647 h 191"/>
                      <a:gd name="T22" fmla="*/ 2147483647 w 262"/>
                      <a:gd name="T23" fmla="*/ 2147483647 h 191"/>
                      <a:gd name="T24" fmla="*/ 2147483647 w 262"/>
                      <a:gd name="T25" fmla="*/ 2147483647 h 191"/>
                      <a:gd name="T26" fmla="*/ 2147483647 w 262"/>
                      <a:gd name="T27" fmla="*/ 2147483647 h 191"/>
                      <a:gd name="T28" fmla="*/ 2147483647 w 262"/>
                      <a:gd name="T29" fmla="*/ 2147483647 h 191"/>
                      <a:gd name="T30" fmla="*/ 2147483647 w 262"/>
                      <a:gd name="T31" fmla="*/ 2147483647 h 191"/>
                      <a:gd name="T32" fmla="*/ 2147483647 w 262"/>
                      <a:gd name="T33" fmla="*/ 2147483647 h 191"/>
                      <a:gd name="T34" fmla="*/ 2147483647 w 262"/>
                      <a:gd name="T35" fmla="*/ 0 h 191"/>
                      <a:gd name="T36" fmla="*/ 2147483647 w 262"/>
                      <a:gd name="T37" fmla="*/ 2147483647 h 191"/>
                      <a:gd name="T38" fmla="*/ 2147483647 w 262"/>
                      <a:gd name="T39" fmla="*/ 2147483647 h 191"/>
                      <a:gd name="T40" fmla="*/ 2147483647 w 262"/>
                      <a:gd name="T41" fmla="*/ 2147483647 h 191"/>
                      <a:gd name="T42" fmla="*/ 2147483647 w 262"/>
                      <a:gd name="T43" fmla="*/ 2147483647 h 191"/>
                      <a:gd name="T44" fmla="*/ 0 w 262"/>
                      <a:gd name="T45" fmla="*/ 2147483647 h 19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62"/>
                      <a:gd name="T70" fmla="*/ 0 h 191"/>
                      <a:gd name="T71" fmla="*/ 262 w 262"/>
                      <a:gd name="T72" fmla="*/ 191 h 19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62" h="191">
                        <a:moveTo>
                          <a:pt x="0" y="104"/>
                        </a:moveTo>
                        <a:lnTo>
                          <a:pt x="0" y="122"/>
                        </a:lnTo>
                        <a:lnTo>
                          <a:pt x="9" y="122"/>
                        </a:lnTo>
                        <a:lnTo>
                          <a:pt x="44" y="148"/>
                        </a:lnTo>
                        <a:lnTo>
                          <a:pt x="53" y="156"/>
                        </a:lnTo>
                        <a:lnTo>
                          <a:pt x="61" y="174"/>
                        </a:lnTo>
                        <a:lnTo>
                          <a:pt x="122" y="191"/>
                        </a:lnTo>
                        <a:lnTo>
                          <a:pt x="149" y="183"/>
                        </a:lnTo>
                        <a:lnTo>
                          <a:pt x="166" y="183"/>
                        </a:lnTo>
                        <a:lnTo>
                          <a:pt x="192" y="165"/>
                        </a:lnTo>
                        <a:lnTo>
                          <a:pt x="210" y="165"/>
                        </a:lnTo>
                        <a:lnTo>
                          <a:pt x="227" y="148"/>
                        </a:lnTo>
                        <a:lnTo>
                          <a:pt x="262" y="113"/>
                        </a:lnTo>
                        <a:lnTo>
                          <a:pt x="184" y="87"/>
                        </a:lnTo>
                        <a:lnTo>
                          <a:pt x="149" y="43"/>
                        </a:lnTo>
                        <a:lnTo>
                          <a:pt x="157" y="26"/>
                        </a:lnTo>
                        <a:lnTo>
                          <a:pt x="140" y="8"/>
                        </a:lnTo>
                        <a:lnTo>
                          <a:pt x="114" y="0"/>
                        </a:lnTo>
                        <a:lnTo>
                          <a:pt x="53" y="8"/>
                        </a:lnTo>
                        <a:lnTo>
                          <a:pt x="27" y="61"/>
                        </a:lnTo>
                        <a:lnTo>
                          <a:pt x="18" y="61"/>
                        </a:lnTo>
                        <a:lnTo>
                          <a:pt x="9" y="104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4" name="Freeform 531"/>
                  <p:cNvSpPr>
                    <a:spLocks/>
                  </p:cNvSpPr>
                  <p:nvPr/>
                </p:nvSpPr>
                <p:spPr bwMode="auto">
                  <a:xfrm>
                    <a:off x="4984394" y="2979616"/>
                    <a:ext cx="289353" cy="291820"/>
                  </a:xfrm>
                  <a:custGeom>
                    <a:avLst/>
                    <a:gdLst>
                      <a:gd name="T0" fmla="*/ 131 w 183"/>
                      <a:gd name="T1" fmla="*/ 52 h 183"/>
                      <a:gd name="T2" fmla="*/ 122 w 183"/>
                      <a:gd name="T3" fmla="*/ 26 h 183"/>
                      <a:gd name="T4" fmla="*/ 131 w 183"/>
                      <a:gd name="T5" fmla="*/ 52 h 183"/>
                      <a:gd name="T6" fmla="*/ 140 w 183"/>
                      <a:gd name="T7" fmla="*/ 52 h 183"/>
                      <a:gd name="T8" fmla="*/ 157 w 183"/>
                      <a:gd name="T9" fmla="*/ 70 h 183"/>
                      <a:gd name="T10" fmla="*/ 175 w 183"/>
                      <a:gd name="T11" fmla="*/ 44 h 183"/>
                      <a:gd name="T12" fmla="*/ 148 w 183"/>
                      <a:gd name="T13" fmla="*/ 0 h 183"/>
                      <a:gd name="T14" fmla="*/ 122 w 183"/>
                      <a:gd name="T15" fmla="*/ 9 h 183"/>
                      <a:gd name="T16" fmla="*/ 96 w 183"/>
                      <a:gd name="T17" fmla="*/ 9 h 183"/>
                      <a:gd name="T18" fmla="*/ 52 w 183"/>
                      <a:gd name="T19" fmla="*/ 18 h 183"/>
                      <a:gd name="T20" fmla="*/ 26 w 183"/>
                      <a:gd name="T21" fmla="*/ 0 h 183"/>
                      <a:gd name="T22" fmla="*/ 0 w 183"/>
                      <a:gd name="T23" fmla="*/ 0 h 183"/>
                      <a:gd name="T24" fmla="*/ 9 w 183"/>
                      <a:gd name="T25" fmla="*/ 26 h 183"/>
                      <a:gd name="T26" fmla="*/ 0 w 183"/>
                      <a:gd name="T27" fmla="*/ 26 h 183"/>
                      <a:gd name="T28" fmla="*/ 18 w 183"/>
                      <a:gd name="T29" fmla="*/ 52 h 183"/>
                      <a:gd name="T30" fmla="*/ 18 w 183"/>
                      <a:gd name="T31" fmla="*/ 183 h 183"/>
                      <a:gd name="T32" fmla="*/ 166 w 183"/>
                      <a:gd name="T33" fmla="*/ 183 h 183"/>
                      <a:gd name="T34" fmla="*/ 183 w 183"/>
                      <a:gd name="T35" fmla="*/ 166 h 183"/>
                      <a:gd name="T36" fmla="*/ 183 w 183"/>
                      <a:gd name="T37" fmla="*/ 140 h 183"/>
                      <a:gd name="T38" fmla="*/ 157 w 183"/>
                      <a:gd name="T39" fmla="*/ 113 h 183"/>
                      <a:gd name="T40" fmla="*/ 148 w 183"/>
                      <a:gd name="T41" fmla="*/ 79 h 183"/>
                      <a:gd name="T42" fmla="*/ 131 w 183"/>
                      <a:gd name="T43" fmla="*/ 52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83" h="183">
                        <a:moveTo>
                          <a:pt x="131" y="52"/>
                        </a:moveTo>
                        <a:lnTo>
                          <a:pt x="122" y="26"/>
                        </a:lnTo>
                        <a:lnTo>
                          <a:pt x="131" y="52"/>
                        </a:lnTo>
                        <a:lnTo>
                          <a:pt x="140" y="52"/>
                        </a:lnTo>
                        <a:lnTo>
                          <a:pt x="157" y="70"/>
                        </a:lnTo>
                        <a:lnTo>
                          <a:pt x="175" y="44"/>
                        </a:lnTo>
                        <a:lnTo>
                          <a:pt x="148" y="0"/>
                        </a:lnTo>
                        <a:lnTo>
                          <a:pt x="122" y="9"/>
                        </a:lnTo>
                        <a:lnTo>
                          <a:pt x="96" y="9"/>
                        </a:lnTo>
                        <a:lnTo>
                          <a:pt x="52" y="1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9" y="26"/>
                        </a:lnTo>
                        <a:lnTo>
                          <a:pt x="0" y="26"/>
                        </a:lnTo>
                        <a:lnTo>
                          <a:pt x="18" y="52"/>
                        </a:lnTo>
                        <a:lnTo>
                          <a:pt x="18" y="183"/>
                        </a:lnTo>
                        <a:lnTo>
                          <a:pt x="166" y="183"/>
                        </a:lnTo>
                        <a:lnTo>
                          <a:pt x="183" y="166"/>
                        </a:lnTo>
                        <a:lnTo>
                          <a:pt x="183" y="140"/>
                        </a:lnTo>
                        <a:lnTo>
                          <a:pt x="157" y="113"/>
                        </a:lnTo>
                        <a:lnTo>
                          <a:pt x="148" y="79"/>
                        </a:lnTo>
                        <a:lnTo>
                          <a:pt x="131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n>
                        <a:solidFill>
                          <a:srgbClr val="001135"/>
                        </a:solidFill>
                      </a:ln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5" name="Freeform 533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6" name="Freeform 534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7" name="Freeform 535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8" name="Freeform 536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9" name="Freeform 537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0" name="Freeform 538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1" name="Freeform 539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2" name="Freeform 540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3" name="Freeform 541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4" name="Freeform 542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5" name="Freeform 543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6" name="Freeform 544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7" name="Freeform 545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8" name="Freeform 546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9" name="Freeform 547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0" name="Freeform 548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1" name="Freeform 549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2" name="Freeform 550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3" name="Freeform 551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4" name="Freeform 552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5" name="Freeform 553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6" name="Freeform 554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7" name="Freeform 555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8" name="Freeform 556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9" name="Freeform 557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0" name="Freeform 558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1" name="Freeform 559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2" name="Freeform 560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3" name="Freeform 561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4" name="Freeform 562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5" name="Freeform 563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6" name="Freeform 564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7" name="Freeform 565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8" name="Freeform 566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9" name="Freeform 567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0" name="Freeform 568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1" name="Freeform 569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2" name="Freeform 570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3" name="Freeform 571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4" name="Freeform 572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5" name="Freeform 573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6" name="Freeform 574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7" name="Freeform 575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8" name="Freeform 576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9" name="Freeform 577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0" name="Freeform 578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1" name="Freeform 579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2" name="Freeform 580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3" name="Freeform 581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4" name="Freeform 582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5" name="Freeform 583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6" name="Freeform 584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7" name="Freeform 585"/>
                  <p:cNvSpPr>
                    <a:spLocks/>
                  </p:cNvSpPr>
                  <p:nvPr/>
                </p:nvSpPr>
                <p:spPr bwMode="auto">
                  <a:xfrm>
                    <a:off x="4002089" y="2873375"/>
                    <a:ext cx="331788" cy="236538"/>
                  </a:xfrm>
                  <a:custGeom>
                    <a:avLst/>
                    <a:gdLst>
                      <a:gd name="T0" fmla="*/ 2147483647 w 209"/>
                      <a:gd name="T1" fmla="*/ 2147483647 h 149"/>
                      <a:gd name="T2" fmla="*/ 2147483647 w 209"/>
                      <a:gd name="T3" fmla="*/ 0 h 149"/>
                      <a:gd name="T4" fmla="*/ 2147483647 w 209"/>
                      <a:gd name="T5" fmla="*/ 0 h 149"/>
                      <a:gd name="T6" fmla="*/ 2147483647 w 209"/>
                      <a:gd name="T7" fmla="*/ 0 h 149"/>
                      <a:gd name="T8" fmla="*/ 2147483647 w 209"/>
                      <a:gd name="T9" fmla="*/ 2147483647 h 149"/>
                      <a:gd name="T10" fmla="*/ 2147483647 w 209"/>
                      <a:gd name="T11" fmla="*/ 2147483647 h 149"/>
                      <a:gd name="T12" fmla="*/ 2147483647 w 209"/>
                      <a:gd name="T13" fmla="*/ 2147483647 h 149"/>
                      <a:gd name="T14" fmla="*/ 2147483647 w 209"/>
                      <a:gd name="T15" fmla="*/ 2147483647 h 149"/>
                      <a:gd name="T16" fmla="*/ 2147483647 w 209"/>
                      <a:gd name="T17" fmla="*/ 2147483647 h 149"/>
                      <a:gd name="T18" fmla="*/ 2147483647 w 209"/>
                      <a:gd name="T19" fmla="*/ 2147483647 h 149"/>
                      <a:gd name="T20" fmla="*/ 2147483647 w 209"/>
                      <a:gd name="T21" fmla="*/ 2147483647 h 149"/>
                      <a:gd name="T22" fmla="*/ 0 w 209"/>
                      <a:gd name="T23" fmla="*/ 2147483647 h 149"/>
                      <a:gd name="T24" fmla="*/ 2147483647 w 209"/>
                      <a:gd name="T25" fmla="*/ 2147483647 h 149"/>
                      <a:gd name="T26" fmla="*/ 2147483647 w 209"/>
                      <a:gd name="T27" fmla="*/ 2147483647 h 149"/>
                      <a:gd name="T28" fmla="*/ 2147483647 w 209"/>
                      <a:gd name="T29" fmla="*/ 2147483647 h 149"/>
                      <a:gd name="T30" fmla="*/ 2147483647 w 209"/>
                      <a:gd name="T31" fmla="*/ 2147483647 h 149"/>
                      <a:gd name="T32" fmla="*/ 2147483647 w 209"/>
                      <a:gd name="T33" fmla="*/ 2147483647 h 149"/>
                      <a:gd name="T34" fmla="*/ 2147483647 w 209"/>
                      <a:gd name="T35" fmla="*/ 2147483647 h 149"/>
                      <a:gd name="T36" fmla="*/ 2147483647 w 209"/>
                      <a:gd name="T37" fmla="*/ 2147483647 h 149"/>
                      <a:gd name="T38" fmla="*/ 2147483647 w 209"/>
                      <a:gd name="T39" fmla="*/ 2147483647 h 149"/>
                      <a:gd name="T40" fmla="*/ 2147483647 w 209"/>
                      <a:gd name="T41" fmla="*/ 2147483647 h 149"/>
                      <a:gd name="T42" fmla="*/ 2147483647 w 209"/>
                      <a:gd name="T43" fmla="*/ 2147483647 h 14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209"/>
                      <a:gd name="T67" fmla="*/ 0 h 149"/>
                      <a:gd name="T68" fmla="*/ 209 w 209"/>
                      <a:gd name="T69" fmla="*/ 149 h 14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209" h="149">
                        <a:moveTo>
                          <a:pt x="183" y="18"/>
                        </a:moveTo>
                        <a:lnTo>
                          <a:pt x="183" y="0"/>
                        </a:lnTo>
                        <a:lnTo>
                          <a:pt x="131" y="0"/>
                        </a:lnTo>
                        <a:lnTo>
                          <a:pt x="105" y="44"/>
                        </a:lnTo>
                        <a:lnTo>
                          <a:pt x="79" y="44"/>
                        </a:lnTo>
                        <a:lnTo>
                          <a:pt x="61" y="53"/>
                        </a:lnTo>
                        <a:lnTo>
                          <a:pt x="61" y="114"/>
                        </a:lnTo>
                        <a:lnTo>
                          <a:pt x="35" y="131"/>
                        </a:lnTo>
                        <a:lnTo>
                          <a:pt x="35" y="140"/>
                        </a:lnTo>
                        <a:lnTo>
                          <a:pt x="0" y="149"/>
                        </a:lnTo>
                        <a:lnTo>
                          <a:pt x="79" y="149"/>
                        </a:lnTo>
                        <a:lnTo>
                          <a:pt x="79" y="131"/>
                        </a:lnTo>
                        <a:lnTo>
                          <a:pt x="105" y="114"/>
                        </a:lnTo>
                        <a:lnTo>
                          <a:pt x="131" y="114"/>
                        </a:lnTo>
                        <a:lnTo>
                          <a:pt x="183" y="61"/>
                        </a:lnTo>
                        <a:lnTo>
                          <a:pt x="209" y="70"/>
                        </a:lnTo>
                        <a:lnTo>
                          <a:pt x="209" y="53"/>
                        </a:lnTo>
                        <a:lnTo>
                          <a:pt x="201" y="53"/>
                        </a:lnTo>
                        <a:lnTo>
                          <a:pt x="201" y="18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8" name="Freeform 587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9" name="Freeform 588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0" name="Freeform 589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1" name="Freeform 590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2" name="Freeform 591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3" name="Freeform 592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4" name="Freeform 593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5" name="Freeform 594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6" name="Freeform 595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7" name="Freeform 596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8" name="Freeform 597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9" name="Freeform 598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0" name="Freeform 599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1" name="Freeform 600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2" name="Freeform 601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3" name="Freeform 602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4" name="Freeform 603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5" name="Freeform 604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6" name="Freeform 605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7" name="Freeform 606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8" name="Freeform 607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9" name="Freeform 609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0" name="Freeform 610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1" name="Freeform 611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2" name="Freeform 612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3" name="Freeform 613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4" name="Freeform 614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5" name="Freeform 615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6" name="Freeform 616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7" name="Freeform 617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</p:grpSp>
          </p:grpSp>
        </p:grpSp>
        <p:sp>
          <p:nvSpPr>
            <p:cNvPr id="14" name="Ellipse 2"/>
            <p:cNvSpPr/>
            <p:nvPr userDrawn="1"/>
          </p:nvSpPr>
          <p:spPr>
            <a:xfrm>
              <a:off x="3745155" y="1316622"/>
              <a:ext cx="1006922" cy="2618209"/>
            </a:xfrm>
            <a:custGeom>
              <a:avLst/>
              <a:gdLst/>
              <a:ahLst/>
              <a:cxnLst/>
              <a:rect l="l" t="t" r="r" b="b"/>
              <a:pathLst>
                <a:path w="913344" h="2374886">
                  <a:moveTo>
                    <a:pt x="456672" y="0"/>
                  </a:moveTo>
                  <a:cubicBezTo>
                    <a:pt x="741172" y="313816"/>
                    <a:pt x="913344" y="730523"/>
                    <a:pt x="913344" y="1187443"/>
                  </a:cubicBezTo>
                  <a:cubicBezTo>
                    <a:pt x="913344" y="1644363"/>
                    <a:pt x="741172" y="2061070"/>
                    <a:pt x="456672" y="2374886"/>
                  </a:cubicBezTo>
                  <a:cubicBezTo>
                    <a:pt x="172173" y="2061070"/>
                    <a:pt x="0" y="1644363"/>
                    <a:pt x="0" y="1187443"/>
                  </a:cubicBezTo>
                  <a:cubicBezTo>
                    <a:pt x="0" y="730523"/>
                    <a:pt x="172173" y="313816"/>
                    <a:pt x="456672" y="0"/>
                  </a:cubicBezTo>
                  <a:close/>
                </a:path>
              </a:pathLst>
            </a:custGeom>
            <a:solidFill>
              <a:schemeClr val="tx1">
                <a:alpha val="43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31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7110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955215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900000"/>
            <a:ext cx="8308800" cy="1980000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eaLnBrk="1" hangingPunct="1"/>
            <a:r>
              <a:rPr lang="en-US" dirty="0">
                <a:ea typeface="ヒラギノ角ゴ Pro W3"/>
                <a:cs typeface="ヒラギノ角ゴ Pro W3"/>
              </a:rPr>
              <a:t>Main headline in</a:t>
            </a:r>
            <a:br>
              <a:rPr lang="en-US" dirty="0">
                <a:ea typeface="ヒラギノ角ゴ Pro W3"/>
                <a:cs typeface="ヒラギノ角ゴ Pro W3"/>
              </a:rPr>
            </a:br>
            <a:r>
              <a:rPr lang="en-US" dirty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417600" y="3059999"/>
            <a:ext cx="8308800" cy="1576800"/>
          </a:xfrm>
        </p:spPr>
        <p:txBody>
          <a:bodyPr/>
          <a:lstStyle>
            <a:lvl1pPr marL="0" indent="0">
              <a:buNone/>
              <a:defRPr sz="1800"/>
            </a:lvl1pPr>
            <a:lvl2pPr marL="230400" indent="-228600">
              <a:buFont typeface="Arial" panose="020B0604020202020204" pitchFamily="34" charset="0"/>
              <a:buChar char="•"/>
              <a:defRPr sz="1800"/>
            </a:lvl2pPr>
          </a:lstStyle>
          <a:p>
            <a:pPr lvl="0"/>
            <a:r>
              <a:rPr lang="en-US" dirty="0"/>
              <a:t>Supporting headline in sentence case here </a:t>
            </a:r>
          </a:p>
          <a:p>
            <a:pPr lvl="1"/>
            <a:r>
              <a:rPr lang="en-US" dirty="0"/>
              <a:t>Author/Presenter</a:t>
            </a:r>
          </a:p>
          <a:p>
            <a:pPr lvl="1"/>
            <a:r>
              <a:rPr lang="en-US" dirty="0"/>
              <a:t>DD-MM-YYY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00" y="280580"/>
            <a:ext cx="1080000" cy="175283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967608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599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11815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28734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99" y="280799"/>
            <a:ext cx="8308800" cy="4359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8962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404847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0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417512" y="4651634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17297007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17512" y="4696575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61991526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267096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09616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15/11/2022</a:t>
            </a:fld>
            <a:endParaRPr lang="en-GB" sz="8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 dirty="0">
                <a:solidFill>
                  <a:schemeClr val="bg2"/>
                </a:solidFill>
                <a:cs typeface="Arial" charset="0"/>
              </a:rPr>
              <a:t>Nokia Internal Use</a:t>
            </a:r>
            <a:endParaRPr lang="en-GB" sz="800" dirty="0">
              <a:solidFill>
                <a:schemeClr val="bg2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</p:sldLayoutIdLst>
  <p:transition/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cs typeface="Arial" panose="020B0604020202020204" pitchFamily="34" charset="0"/>
              </a:rPr>
              <a:pPr>
                <a:defRPr/>
              </a:pPr>
              <a:t>15/11/2022</a:t>
            </a:fld>
            <a:endParaRPr lang="en-GB" sz="800" dirty="0"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/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3388" y="4767257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kia Internal </a:t>
            </a:r>
            <a:r>
              <a:rPr lang="en-GB" sz="8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</a:t>
            </a: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lang="en-GB" sz="8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419225" y="4650515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/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© Nokia 201</a:t>
            </a:r>
            <a:r>
              <a:rPr lang="ro-RO" sz="800" dirty="0">
                <a:solidFill>
                  <a:schemeClr val="bg1"/>
                </a:solidFill>
                <a:latin typeface="Arial"/>
                <a:cs typeface="Arial" charset="0"/>
              </a:rPr>
              <a:t>9</a:t>
            </a:r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	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10" r:id="rId3"/>
  </p:sldLayoutIdLst>
  <p:transition/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7708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7" imgW="216" imgH="216" progId="">
                  <p:embed/>
                </p:oleObj>
              </mc:Choice>
              <mc:Fallback>
                <p:oleObj name="think-cell Slide" r:id="rId17" imgW="216" imgH="216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201</a:t>
            </a:r>
            <a:r>
              <a:rPr lang="ro-RO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9</a:t>
            </a:r>
            <a:endParaRPr lang="en-GB" sz="800" dirty="0">
              <a:solidFill>
                <a:srgbClr val="001135"/>
              </a:solidFill>
              <a:latin typeface="Nokia Pure Text Light"/>
              <a:cs typeface="Arial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7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7" r:id="rId12"/>
    <p:sldLayoutId id="2147483829" r:id="rId13"/>
  </p:sldLayoutIdLst>
  <p:transition/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06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transition/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>
                <a:solidFill>
                  <a:schemeClr val="bg2"/>
                </a:solidFill>
                <a:latin typeface="+mn-lt"/>
                <a:cs typeface="Arial" charset="0"/>
              </a:rPr>
              <a:t>© Nokia Solutions and Networks 2017</a:t>
            </a: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27383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9" r:id="rId5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16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pic>
        <p:nvPicPr>
          <p:cNvPr id="3" name="Picture 2">
            <a:hlinkClick r:id="" action="ppaction://noaction"/>
          </p:cNvPr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8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5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17" name="Gruppieren 16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19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0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1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2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3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4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25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27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48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49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18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  <p:cxnSp>
        <p:nvCxnSpPr>
          <p:cNvPr id="5" name="Gerade Verbindung 4"/>
          <p:cNvCxnSpPr/>
          <p:nvPr userDrawn="1"/>
        </p:nvCxnSpPr>
        <p:spPr>
          <a:xfrm>
            <a:off x="233553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414528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3" name="Rechteck 52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3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89"/>
            <a:ext cx="223612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7" name="Rechteck 6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9" name="Rechteck 8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7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8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9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1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22" name="Gruppieren 21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24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5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6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7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30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32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3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34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36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7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23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2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922345" y="2197152"/>
            <a:ext cx="181432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2000" dirty="0">
                <a:latin typeface="Nokia Pure Headline Light" panose="020B0304040602060303" pitchFamily="34" charset="0"/>
              </a:rPr>
              <a:t>Nokia Romania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17513" y="288000"/>
            <a:ext cx="8229600" cy="505287"/>
          </a:xfrm>
        </p:spPr>
        <p:txBody>
          <a:bodyPr/>
          <a:lstStyle/>
          <a:p>
            <a:r>
              <a:rPr lang="en-US" sz="2800" dirty="0"/>
              <a:t>Classes in C++</a:t>
            </a:r>
            <a:endParaRPr lang="en-US" sz="2800" dirty="0">
              <a:effectLst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5611" y="1043213"/>
            <a:ext cx="4571502" cy="3228624"/>
          </a:xfrm>
          <a:prstGeom prst="rect">
            <a:avLst/>
          </a:prstGeom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417513" y="3964060"/>
            <a:ext cx="181432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1600" dirty="0">
                <a:latin typeface="Nokia Pure Headline Light" panose="020B0304040602060303" pitchFamily="34" charset="0"/>
              </a:rPr>
              <a:t>Alin Han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Overloading function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3E899-6590-4CDB-AF72-1B36C88980D1}"/>
              </a:ext>
            </a:extLst>
          </p:cNvPr>
          <p:cNvSpPr/>
          <p:nvPr/>
        </p:nvSpPr>
        <p:spPr>
          <a:xfrm rot="10800000" flipV="1">
            <a:off x="188996" y="1349992"/>
            <a:ext cx="87606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You can create a situation in which the compiler is unable to choose between two overloaded function. When this happens, the situation is said to be ambiguous and this is an error by compile.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B95FA-2E5D-44CB-B59A-821DB226E5BC}"/>
              </a:ext>
            </a:extLst>
          </p:cNvPr>
          <p:cNvSpPr/>
          <p:nvPr/>
        </p:nvSpPr>
        <p:spPr>
          <a:xfrm rot="10800000" flipV="1">
            <a:off x="188996" y="703660"/>
            <a:ext cx="87606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Overloading is a feature in C++ where two or more functions/operators can have the same name but different parameters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4BE06E-DB82-4B19-BAFB-7133238154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8102" y="2294107"/>
            <a:ext cx="1514475" cy="24288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FE962A-6B50-47B5-AAA8-4C07DDF6FC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6578" y="2294107"/>
            <a:ext cx="2124075" cy="253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83299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91655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Overloading opera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B95FA-2E5D-44CB-B59A-821DB226E5BC}"/>
              </a:ext>
            </a:extLst>
          </p:cNvPr>
          <p:cNvSpPr/>
          <p:nvPr/>
        </p:nvSpPr>
        <p:spPr>
          <a:xfrm rot="10800000" flipV="1">
            <a:off x="191655" y="608335"/>
            <a:ext cx="86943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Many operator can be overloaded: Unary operator: ++, --, !, ~</a:t>
            </a:r>
            <a:endParaRPr lang="en-US" dirty="0"/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							 Binary operator: +, -, *, /, %, &amp;, |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							Relation operator: &lt;, &gt;,  &lt;=, &gt;=, ==, !=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							Other operator: =, &lt;&lt;, &gt;&gt;, -&gt;, *, [], (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12555E-0C7B-4E2E-80A4-70B33609DE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655" y="1882479"/>
            <a:ext cx="4533900" cy="29432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E1A7535-6895-43C8-BBC3-68CF842491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2235" y="1882479"/>
            <a:ext cx="222885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89493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91655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Overloading operator(2)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B9C6A7-064C-4175-9985-639DCAC06A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655" y="652289"/>
            <a:ext cx="5848350" cy="40195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AC64B4-7EC9-4DA9-ADF0-FB78FCB0F3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1983" y="652289"/>
            <a:ext cx="2686050" cy="187642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7A9192B-7717-44B5-A301-06D351B28617}"/>
              </a:ext>
            </a:extLst>
          </p:cNvPr>
          <p:cNvSpPr txBox="1"/>
          <p:nvPr/>
        </p:nvSpPr>
        <p:spPr>
          <a:xfrm>
            <a:off x="3200400" y="2343150"/>
            <a:ext cx="2743200" cy="360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sz="1400" dirty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0571081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Con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852A8B-B1FB-4A8C-BEE3-C93F76027860}"/>
              </a:ext>
            </a:extLst>
          </p:cNvPr>
          <p:cNvSpPr/>
          <p:nvPr/>
        </p:nvSpPr>
        <p:spPr>
          <a:xfrm rot="10800000" flipV="1">
            <a:off x="188996" y="3139464"/>
            <a:ext cx="81149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f the class has no constructor, the compiler will generate a default constructor and it has the exactly the same effect as a user-defined constructor with empty body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default constructor call the constructor for each field in the class.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A594E9-39F6-4BEE-940A-3F3A3CB7A6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5" y="706746"/>
            <a:ext cx="1781175" cy="11239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70D61BA-2E15-4FF4-BA86-D410946A4846}"/>
              </a:ext>
            </a:extLst>
          </p:cNvPr>
          <p:cNvSpPr/>
          <p:nvPr/>
        </p:nvSpPr>
        <p:spPr>
          <a:xfrm rot="10800000" flipV="1">
            <a:off x="188995" y="1884917"/>
            <a:ext cx="811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An object’s constructor is called when the object comes into existence, and an object destructor is called when the object is destroyed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Global object have their constructors execute before main() begins. A local object’s constructor is execute when the object’s declaration statement is encounter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46048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D4976CB4-E362-4722-A846-DC0C2ABE80FD}"/>
              </a:ext>
            </a:extLst>
          </p:cNvPr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Default Con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FF8042-7E43-4F88-8E63-D30CDC2A05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98" y="775144"/>
            <a:ext cx="2514600" cy="28479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B195221-3A0A-4E9B-9966-31FA8C3C100E}"/>
              </a:ext>
            </a:extLst>
          </p:cNvPr>
          <p:cNvSpPr/>
          <p:nvPr/>
        </p:nvSpPr>
        <p:spPr>
          <a:xfrm rot="10800000" flipV="1">
            <a:off x="3070302" y="815380"/>
            <a:ext cx="55161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f we declare a constructor, the compiler will not create a default constructor anymore, so we got a compiler error on the line Student student[4];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D727DE-CE1B-41C2-A755-6851BD5B1B84}"/>
              </a:ext>
            </a:extLst>
          </p:cNvPr>
          <p:cNvSpPr/>
          <p:nvPr/>
        </p:nvSpPr>
        <p:spPr>
          <a:xfrm rot="10800000" flipV="1">
            <a:off x="3070302" y="1882200"/>
            <a:ext cx="56350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Solution: we declare the default constructor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EC07C4-55D0-4160-8105-743EFCD62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0302" y="2410638"/>
            <a:ext cx="2457450" cy="231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126826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Explicit Con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87508B-3A59-43BF-9565-64A590D68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6" y="675938"/>
            <a:ext cx="4705350" cy="1247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791ED8-D4A3-485B-AA4C-906E89D259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996" y="2237109"/>
            <a:ext cx="3048000" cy="157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8472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Copy Con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807DCA-053B-489B-8F53-5DAE44162BA6}"/>
              </a:ext>
            </a:extLst>
          </p:cNvPr>
          <p:cNvSpPr/>
          <p:nvPr/>
        </p:nvSpPr>
        <p:spPr>
          <a:xfrm rot="10800000" flipV="1">
            <a:off x="3817897" y="3368980"/>
            <a:ext cx="45009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default copy constructor copy all fields from destination to source object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is operation is know as shallow copy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A858D2-ACFD-4116-8271-52A8E4167C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8" y="732313"/>
            <a:ext cx="3267075" cy="41433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BCD71F0-3D39-4363-B027-07B2C66956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7896" y="611574"/>
            <a:ext cx="3009900" cy="1143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B4BFE7D-758D-4804-A8B3-6AE1CC8F4D7F}"/>
              </a:ext>
            </a:extLst>
          </p:cNvPr>
          <p:cNvSpPr/>
          <p:nvPr/>
        </p:nvSpPr>
        <p:spPr>
          <a:xfrm rot="10800000" flipV="1">
            <a:off x="3817896" y="2148926"/>
            <a:ext cx="45009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f the class has no copy constructor, the compiler will generate a default copy constructo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22158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94553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Copy Con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807DCA-053B-489B-8F53-5DAE44162BA6}"/>
              </a:ext>
            </a:extLst>
          </p:cNvPr>
          <p:cNvSpPr/>
          <p:nvPr/>
        </p:nvSpPr>
        <p:spPr>
          <a:xfrm rot="10800000" flipV="1">
            <a:off x="217341" y="3508872"/>
            <a:ext cx="28770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simplest solution is to delete copy constructor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607416-12D3-41E8-AE07-6D7A40C333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8" y="773267"/>
            <a:ext cx="2933700" cy="24669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F143FC4-BE47-44EC-A0A3-4C0758722E0B}"/>
              </a:ext>
            </a:extLst>
          </p:cNvPr>
          <p:cNvSpPr/>
          <p:nvPr/>
        </p:nvSpPr>
        <p:spPr>
          <a:xfrm rot="10800000" flipV="1">
            <a:off x="3795364" y="3508873"/>
            <a:ext cx="51312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f we need copy constructor, we have to write it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E91AF7-26B4-4C91-A734-C511F9DABA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5364" y="773267"/>
            <a:ext cx="3486150" cy="25527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6E792AC-7771-4214-9B24-AA2C2EDDAE88}"/>
              </a:ext>
            </a:extLst>
          </p:cNvPr>
          <p:cNvSpPr/>
          <p:nvPr/>
        </p:nvSpPr>
        <p:spPr>
          <a:xfrm rot="10800000" flipV="1">
            <a:off x="3795365" y="3990070"/>
            <a:ext cx="4354428" cy="3693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This copy constructor make a deep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84526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Copy assignment opera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807DCA-053B-489B-8F53-5DAE44162BA6}"/>
              </a:ext>
            </a:extLst>
          </p:cNvPr>
          <p:cNvSpPr/>
          <p:nvPr/>
        </p:nvSpPr>
        <p:spPr>
          <a:xfrm rot="10800000" flipV="1">
            <a:off x="3367666" y="698844"/>
            <a:ext cx="57094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f the class has no copy assignment operator, the compiler will generate a default copy assignment operator 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copy default assignment operator copies all fields from destination to source object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is operation is know as shallow copy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F83A38-4549-42DA-A90B-DB594A8C37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8" y="598712"/>
            <a:ext cx="2962275" cy="4191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C063B47-5A9C-48C5-A997-90D55D5C75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0666" y="2425392"/>
            <a:ext cx="3409950" cy="2609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52054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 L- and R-value 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0D61BA-2E15-4FF4-BA86-D410946A4846}"/>
              </a:ext>
            </a:extLst>
          </p:cNvPr>
          <p:cNvSpPr/>
          <p:nvPr/>
        </p:nvSpPr>
        <p:spPr>
          <a:xfrm rot="10800000" flipV="1">
            <a:off x="188996" y="643252"/>
            <a:ext cx="835564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An expression is a valid combination of variable, constant and operator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An expression has 2 property: a type and a value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A L-value is an expression that refers to a memory location and allows us to take the address of that memory. A R-value is an expression that is not a L-value.  It’s simplest to think that a L-value can be assigned to, but the R-value cannot be assigned to. 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F995B7-C4FF-4C94-9B19-9DDB561345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6" y="2375309"/>
            <a:ext cx="3158303" cy="112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4207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Concept OOP (Object Oriented Programming)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F66B71-B05F-4EE0-9D88-87ACF2BA6A60}"/>
              </a:ext>
            </a:extLst>
          </p:cNvPr>
          <p:cNvSpPr/>
          <p:nvPr/>
        </p:nvSpPr>
        <p:spPr>
          <a:xfrm>
            <a:off x="345782" y="724914"/>
            <a:ext cx="8422534" cy="2534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bstrac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Encapsula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Overloading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Inheritanc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Polymorphism/Overriding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Abstract class</a:t>
            </a:r>
          </a:p>
        </p:txBody>
      </p:sp>
    </p:spTree>
    <p:extLst>
      <p:ext uri="{BB962C8B-B14F-4D97-AF65-F5344CB8AC3E}">
        <p14:creationId xmlns:p14="http://schemas.microsoft.com/office/powerpoint/2010/main" val="4089827553"/>
      </p:ext>
    </p:extLst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 L- and R-value references 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0D61BA-2E15-4FF4-BA86-D410946A4846}"/>
              </a:ext>
            </a:extLst>
          </p:cNvPr>
          <p:cNvSpPr/>
          <p:nvPr/>
        </p:nvSpPr>
        <p:spPr>
          <a:xfrm rot="10800000" flipV="1">
            <a:off x="188996" y="697600"/>
            <a:ext cx="83556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A L-value reference is a reference to a L-value, a reference to a memory location. 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A R-value reference is a reference to a R-value.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1D142E-6F52-4DB7-94B2-BF13F01FB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877" y="1507011"/>
            <a:ext cx="2103583" cy="11308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FD81DC8-97D4-4870-8EBE-4A4FBF7457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877" y="2879004"/>
            <a:ext cx="2410611" cy="15668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CA25B29-43C9-476E-B6F0-B3F134F4B7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1212" y="1507011"/>
            <a:ext cx="3910398" cy="257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1395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Move Con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1A53177-54DC-4D63-A36C-695F4D41DA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998" y="689650"/>
            <a:ext cx="4010025" cy="35623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1394B39-50BE-45A8-9C7F-B1B5625FFB5E}"/>
              </a:ext>
            </a:extLst>
          </p:cNvPr>
          <p:cNvSpPr/>
          <p:nvPr/>
        </p:nvSpPr>
        <p:spPr>
          <a:xfrm rot="10800000" flipV="1">
            <a:off x="4516938" y="689651"/>
            <a:ext cx="40100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</a:t>
            </a:r>
            <a:r>
              <a:rPr lang="en-US" dirty="0" err="1">
                <a:solidFill>
                  <a:srgbClr val="000000"/>
                </a:solidFill>
                <a:latin typeface="DejaVuSans"/>
              </a:rPr>
              <a:t>push_back</a:t>
            </a:r>
            <a:r>
              <a:rPr lang="en-US" dirty="0">
                <a:solidFill>
                  <a:srgbClr val="000000"/>
                </a:solidFill>
                <a:latin typeface="DejaVuSans"/>
              </a:rPr>
              <a:t> function call copy constructor to copy the content to the vector, but the local created variable is used only loc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E53419-0B37-4947-9785-CC39FB5927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6938" y="2966125"/>
            <a:ext cx="2952750" cy="12858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E348AA-A189-47CD-8444-C7F4177F7144}"/>
              </a:ext>
            </a:extLst>
          </p:cNvPr>
          <p:cNvSpPr txBox="1"/>
          <p:nvPr/>
        </p:nvSpPr>
        <p:spPr>
          <a:xfrm>
            <a:off x="3200400" y="2343150"/>
            <a:ext cx="2743200" cy="360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sz="1400" dirty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Click to add tex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65C5AB-D25A-40CA-9C70-B4B198EF7E94}"/>
              </a:ext>
            </a:extLst>
          </p:cNvPr>
          <p:cNvSpPr txBox="1"/>
          <p:nvPr/>
        </p:nvSpPr>
        <p:spPr>
          <a:xfrm>
            <a:off x="3343275" y="2486025"/>
            <a:ext cx="2743200" cy="360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sz="1400" dirty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8257221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Move assignment opera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ED8892-DC60-40CC-8C81-63D7C9D2C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7656" y="779687"/>
            <a:ext cx="3181350" cy="24955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08BC5F-899E-4A4A-A955-252A22F371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998" y="779687"/>
            <a:ext cx="3095625" cy="401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211786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Exercise -</a:t>
            </a:r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1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1987BA-83BA-4A09-8008-740A854B86AB}"/>
              </a:ext>
            </a:extLst>
          </p:cNvPr>
          <p:cNvSpPr/>
          <p:nvPr/>
        </p:nvSpPr>
        <p:spPr>
          <a:xfrm rot="10800000" flipV="1">
            <a:off x="188998" y="660310"/>
            <a:ext cx="8058357" cy="9233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Write a class </a:t>
            </a:r>
            <a:r>
              <a:rPr lang="en-US" dirty="0" err="1">
                <a:solidFill>
                  <a:srgbClr val="000000"/>
                </a:solidFill>
                <a:latin typeface="DejaVuSans"/>
              </a:rPr>
              <a:t>MyString</a:t>
            </a:r>
            <a:r>
              <a:rPr lang="en-US" dirty="0">
                <a:solidFill>
                  <a:srgbClr val="000000"/>
                </a:solidFill>
                <a:latin typeface="DejaVuSans"/>
              </a:rPr>
              <a:t> which has only one private member: a char*.</a:t>
            </a:r>
            <a:endParaRPr lang="en-US"/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Write in this class a copy constructor and copy assignment operator, a move constructor and move assignment operator and a concatenate function/ operator+.</a:t>
            </a:r>
            <a:endParaRPr lang="en-US">
              <a:solidFill>
                <a:srgbClr val="12419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959358"/>
      </p:ext>
    </p:extLst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1987BA-83BA-4A09-8008-740A854B86AB}"/>
              </a:ext>
            </a:extLst>
          </p:cNvPr>
          <p:cNvSpPr/>
          <p:nvPr/>
        </p:nvSpPr>
        <p:spPr>
          <a:xfrm rot="10800000" flipV="1">
            <a:off x="111024" y="793464"/>
            <a:ext cx="87606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nheritance is the process of forming a new class from an existing class. The existing class is called base class and the new class is call derived class. 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reason is to reuse the code functionality.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5AE6E5-096F-43A1-A650-F7FB95051D62}"/>
              </a:ext>
            </a:extLst>
          </p:cNvPr>
          <p:cNvSpPr/>
          <p:nvPr/>
        </p:nvSpPr>
        <p:spPr>
          <a:xfrm rot="10800000" flipV="1">
            <a:off x="111025" y="1776418"/>
            <a:ext cx="87606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Consider a real life example of a child, who has some properties like his father/mother, but not all (blood)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4C4B61-8E7D-46CC-BB0C-3837394EA6ED}"/>
              </a:ext>
            </a:extLst>
          </p:cNvPr>
          <p:cNvSpPr txBox="1">
            <a:spLocks/>
          </p:cNvSpPr>
          <p:nvPr/>
        </p:nvSpPr>
        <p:spPr bwMode="auto">
          <a:xfrm>
            <a:off x="111025" y="173834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Inheritance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D67A9A-C177-4BDE-9BC9-7F5AC9140E6A}"/>
              </a:ext>
            </a:extLst>
          </p:cNvPr>
          <p:cNvSpPr/>
          <p:nvPr/>
        </p:nvSpPr>
        <p:spPr>
          <a:xfrm rot="10800000" flipV="1">
            <a:off x="111025" y="3096593"/>
            <a:ext cx="87606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Function overriding is a feature of OOP that allows us to override a function of parent class in a child class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signature of the child’s function must be the same as parent’s function!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D9501631-A4B9-4BC4-9F45-BC0CCA18B8D8}"/>
              </a:ext>
            </a:extLst>
          </p:cNvPr>
          <p:cNvSpPr txBox="1">
            <a:spLocks/>
          </p:cNvSpPr>
          <p:nvPr/>
        </p:nvSpPr>
        <p:spPr bwMode="auto">
          <a:xfrm>
            <a:off x="111025" y="2535780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Overriding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4A9243-20A9-40CE-8808-CE88BAB5C6F1}"/>
              </a:ext>
            </a:extLst>
          </p:cNvPr>
          <p:cNvSpPr/>
          <p:nvPr/>
        </p:nvSpPr>
        <p:spPr>
          <a:xfrm rot="10800000" flipV="1">
            <a:off x="111026" y="4026871"/>
            <a:ext cx="8760688" cy="646331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n C++, overriding concept is implemented with a virtual keyword in base class and optional override keyword in derived class</a:t>
            </a:r>
          </a:p>
        </p:txBody>
      </p:sp>
    </p:spTree>
    <p:extLst>
      <p:ext uri="{BB962C8B-B14F-4D97-AF65-F5344CB8AC3E}">
        <p14:creationId xmlns:p14="http://schemas.microsoft.com/office/powerpoint/2010/main" val="179505780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7" grpId="0"/>
      <p:bldP spid="8" grpId="0" animBg="1"/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91642" y="188715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Polymorphism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3E899-6590-4CDB-AF72-1B36C88980D1}"/>
              </a:ext>
            </a:extLst>
          </p:cNvPr>
          <p:cNvSpPr/>
          <p:nvPr/>
        </p:nvSpPr>
        <p:spPr>
          <a:xfrm rot="10800000" flipV="1">
            <a:off x="191642" y="697597"/>
            <a:ext cx="7460856" cy="3693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Polymorphism means having many form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35575A3-E576-42F9-B626-D6F1F3E1038D}"/>
              </a:ext>
            </a:extLst>
          </p:cNvPr>
          <p:cNvSpPr/>
          <p:nvPr/>
        </p:nvSpPr>
        <p:spPr>
          <a:xfrm rot="10800000" flipV="1">
            <a:off x="191642" y="1152782"/>
            <a:ext cx="8760690" cy="646331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n C++ polymorphism means that a call to a member function will cause a different function to be executed depending on the type of the object that invokes the function.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CC8A657B-701C-4DE9-A44A-9D8571766C8B}"/>
              </a:ext>
            </a:extLst>
          </p:cNvPr>
          <p:cNvSpPr txBox="1">
            <a:spLocks/>
          </p:cNvSpPr>
          <p:nvPr/>
        </p:nvSpPr>
        <p:spPr bwMode="auto">
          <a:xfrm>
            <a:off x="191642" y="2091943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Abstract class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47BFAB-B7FA-48B6-8D14-7B90990A96D0}"/>
              </a:ext>
            </a:extLst>
          </p:cNvPr>
          <p:cNvSpPr/>
          <p:nvPr/>
        </p:nvSpPr>
        <p:spPr>
          <a:xfrm rot="10800000" flipV="1">
            <a:off x="191642" y="2587885"/>
            <a:ext cx="8760689" cy="646331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A class is abstract when its contains at least one pure virtual function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A pure virtual function is a function who is declare by using pure specifier (= 0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8909CA7-E352-4F5E-A206-B3390460F441}"/>
              </a:ext>
            </a:extLst>
          </p:cNvPr>
          <p:cNvSpPr/>
          <p:nvPr/>
        </p:nvSpPr>
        <p:spPr>
          <a:xfrm rot="10800000" flipV="1">
            <a:off x="191643" y="3451430"/>
            <a:ext cx="7460856" cy="3693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DejaVuSans"/>
              </a:rPr>
              <a:t>Exemple</a:t>
            </a:r>
            <a:r>
              <a:rPr lang="en-US" dirty="0">
                <a:solidFill>
                  <a:srgbClr val="000000"/>
                </a:solidFill>
                <a:latin typeface="DejaVuSans"/>
              </a:rPr>
              <a:t>:  virtual void </a:t>
            </a:r>
            <a:r>
              <a:rPr lang="en-US" dirty="0" err="1">
                <a:solidFill>
                  <a:srgbClr val="000000"/>
                </a:solidFill>
                <a:latin typeface="DejaVuSans"/>
              </a:rPr>
              <a:t>func</a:t>
            </a:r>
            <a:r>
              <a:rPr lang="en-US" dirty="0">
                <a:solidFill>
                  <a:srgbClr val="000000"/>
                </a:solidFill>
                <a:latin typeface="DejaVuSans"/>
              </a:rPr>
              <a:t>() = 0;</a:t>
            </a:r>
          </a:p>
        </p:txBody>
      </p:sp>
    </p:spTree>
    <p:extLst>
      <p:ext uri="{BB962C8B-B14F-4D97-AF65-F5344CB8AC3E}">
        <p14:creationId xmlns:p14="http://schemas.microsoft.com/office/powerpoint/2010/main" val="268766073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2" grpId="0" animBg="1"/>
      <p:bldP spid="13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91654" y="188715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Destructo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9" name="Table Placeholder 8">
            <a:extLst>
              <a:ext uri="{FF2B5EF4-FFF2-40B4-BE49-F238E27FC236}">
                <a16:creationId xmlns:a16="http://schemas.microsoft.com/office/drawing/2014/main" id="{5ADF3B6C-0481-42B4-9817-1828B9CCAF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8971101"/>
              </p:ext>
            </p:extLst>
          </p:nvPr>
        </p:nvGraphicFramePr>
        <p:xfrm>
          <a:off x="191642" y="746542"/>
          <a:ext cx="2359819" cy="3413760"/>
        </p:xfrm>
        <a:graphic>
          <a:graphicData uri="http://schemas.openxmlformats.org/drawingml/2006/table">
            <a:tbl>
              <a:tblPr firstRow="1" bandRow="1"/>
              <a:tblGrid>
                <a:gridCol w="23598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413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9pPr>
                    </a:lstStyle>
                    <a:p>
                      <a:r>
                        <a:rPr lang="en-US" sz="1000" b="1" dirty="0">
                          <a:solidFill>
                            <a:schemeClr val="tx2"/>
                          </a:solidFill>
                        </a:rPr>
                        <a:t>Examp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D57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5482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9pPr>
                    </a:lstStyle>
                    <a:p>
                      <a:pPr algn="just"/>
                      <a:endParaRPr lang="en-US" sz="1000" i="1" dirty="0">
                        <a:solidFill>
                          <a:schemeClr val="tx2"/>
                        </a:solidFill>
                      </a:endParaRP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class Base 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{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    // some virtual methods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};</a:t>
                      </a:r>
                    </a:p>
                    <a:p>
                      <a:pPr algn="just"/>
                      <a:endParaRPr lang="en-US" sz="1000" i="1" dirty="0">
                        <a:solidFill>
                          <a:schemeClr val="tx2"/>
                        </a:solidFill>
                      </a:endParaRP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class Derived : public Base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{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    ~Derived()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    {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        // Do some important cleanup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    }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};</a:t>
                      </a:r>
                    </a:p>
                    <a:p>
                      <a:pPr algn="just"/>
                      <a:endParaRPr lang="en-US" sz="1000" i="1" dirty="0">
                        <a:solidFill>
                          <a:schemeClr val="tx2"/>
                        </a:solidFill>
                      </a:endParaRP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Base *b = new Derived();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// use b</a:t>
                      </a:r>
                    </a:p>
                    <a:p>
                      <a:pPr algn="just"/>
                      <a:r>
                        <a:rPr lang="en-US" sz="1000" i="1" dirty="0">
                          <a:solidFill>
                            <a:schemeClr val="tx2"/>
                          </a:solidFill>
                        </a:rPr>
                        <a:t>delete b; // Is here a problem?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D57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13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57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13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Nokia Pure Text Light"/>
                        </a:defRPr>
                      </a:lvl9pPr>
                    </a:lstStyle>
                    <a:p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</a:t>
                      </a:r>
                      <a:endParaRPr lang="en-US" sz="100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D57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DA9651A-DBC1-4EA1-85B2-C468C21EBC80}"/>
              </a:ext>
            </a:extLst>
          </p:cNvPr>
          <p:cNvSpPr/>
          <p:nvPr/>
        </p:nvSpPr>
        <p:spPr>
          <a:xfrm rot="10800000" flipV="1">
            <a:off x="3097619" y="1100931"/>
            <a:ext cx="5415778" cy="646331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n this example, the destructor from Derived is not called and some important cleanup is not do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1E8FB1-5A6F-4C87-AFDE-60C61A7BCAAF}"/>
              </a:ext>
            </a:extLst>
          </p:cNvPr>
          <p:cNvSpPr/>
          <p:nvPr/>
        </p:nvSpPr>
        <p:spPr>
          <a:xfrm rot="10800000" flipV="1">
            <a:off x="3097619" y="1998019"/>
            <a:ext cx="5096538" cy="3693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Solution: make the Base’s class destructor virtual!</a:t>
            </a:r>
          </a:p>
        </p:txBody>
      </p:sp>
    </p:spTree>
    <p:extLst>
      <p:ext uri="{BB962C8B-B14F-4D97-AF65-F5344CB8AC3E}">
        <p14:creationId xmlns:p14="http://schemas.microsoft.com/office/powerpoint/2010/main" val="28376057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Exercise - 2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1987BA-83BA-4A09-8008-740A854B86AB}"/>
              </a:ext>
            </a:extLst>
          </p:cNvPr>
          <p:cNvSpPr/>
          <p:nvPr/>
        </p:nvSpPr>
        <p:spPr>
          <a:xfrm rot="10800000" flipV="1">
            <a:off x="188999" y="990643"/>
            <a:ext cx="405281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Use inheritance to simulate the following construction of the triangle: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Equilateral :base class for Isosceles,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Isosceles: base class for Triangle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Write in each class the formula for perimeter and aria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Annotation: Equilateral has only one side, Isosceles has 2 sides (one inheritance from Equilateral) and Triangle has 3 sides (2 inheritance from Isosceles)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You should test these classes in this way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C97FFD-83F7-41C8-B960-13A69F066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6406" y="1060743"/>
            <a:ext cx="4703770" cy="2993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794948"/>
      </p:ext>
    </p:extLst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Exercise - 3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1987BA-83BA-4A09-8008-740A854B86AB}"/>
              </a:ext>
            </a:extLst>
          </p:cNvPr>
          <p:cNvSpPr/>
          <p:nvPr/>
        </p:nvSpPr>
        <p:spPr>
          <a:xfrm rot="10800000" flipV="1">
            <a:off x="188997" y="1406144"/>
            <a:ext cx="4503504" cy="230832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Use a abstract class Shape who has a write function which writes the perimeter and area. This abstract class has one member side. Derived from this class 3 objects: Triangle, </a:t>
            </a:r>
            <a:r>
              <a:rPr lang="en-US">
                <a:solidFill>
                  <a:srgbClr val="000000"/>
                </a:solidFill>
                <a:latin typeface="DejaVuSans"/>
              </a:rPr>
              <a:t>Square and Hexagon who override the 2 </a:t>
            </a:r>
            <a:r>
              <a:rPr lang="en-US" dirty="0">
                <a:solidFill>
                  <a:srgbClr val="000000"/>
                </a:solidFill>
                <a:latin typeface="DejaVuSans"/>
              </a:rPr>
              <a:t>abstract function from Shape: perimeter and aria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main program is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DBC920-72C4-4EC0-AD79-A955F8D8E7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0539" y="1363007"/>
            <a:ext cx="2225715" cy="2351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257271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8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Abstraction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C3E13C-36EC-46F4-8C13-48526A6936F0}"/>
              </a:ext>
            </a:extLst>
          </p:cNvPr>
          <p:cNvSpPr/>
          <p:nvPr/>
        </p:nvSpPr>
        <p:spPr>
          <a:xfrm rot="10800000" flipV="1">
            <a:off x="188997" y="754754"/>
            <a:ext cx="8760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Data abstraction means providing only essential information and hiding the background details or implementation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850DA3-C5DF-4647-BD7A-530885F55949}"/>
              </a:ext>
            </a:extLst>
          </p:cNvPr>
          <p:cNvSpPr/>
          <p:nvPr/>
        </p:nvSpPr>
        <p:spPr>
          <a:xfrm rot="10800000" flipV="1">
            <a:off x="188998" y="1621319"/>
            <a:ext cx="8760690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Consider a real life example of a man driving a car. He use accelerator and break for moving and stopping the car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2180F1F-0559-4A15-B0CB-66E4F7F63ED3}"/>
              </a:ext>
            </a:extLst>
          </p:cNvPr>
          <p:cNvSpPr txBox="1">
            <a:spLocks/>
          </p:cNvSpPr>
          <p:nvPr/>
        </p:nvSpPr>
        <p:spPr bwMode="auto">
          <a:xfrm>
            <a:off x="188998" y="2571750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Encapsulation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C7F15A-2412-4D13-BF3D-812625702351}"/>
              </a:ext>
            </a:extLst>
          </p:cNvPr>
          <p:cNvSpPr/>
          <p:nvPr/>
        </p:nvSpPr>
        <p:spPr>
          <a:xfrm rot="10800000" flipV="1">
            <a:off x="188998" y="3115150"/>
            <a:ext cx="87606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Encapsulation is placing the data and the functions that work on that data in the same place, and keeps both safe from outside interferenc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F5967A-0511-4ED2-B2DC-F98A5D240887}"/>
              </a:ext>
            </a:extLst>
          </p:cNvPr>
          <p:cNvSpPr txBox="1"/>
          <p:nvPr/>
        </p:nvSpPr>
        <p:spPr>
          <a:xfrm>
            <a:off x="3200400" y="2343150"/>
            <a:ext cx="2743200" cy="3608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</a:pPr>
            <a:r>
              <a:rPr lang="en-US" sz="1400" dirty="0">
                <a:solidFill>
                  <a:schemeClr val="tx2"/>
                </a:solidFill>
                <a:latin typeface="+mn-lt"/>
                <a:ea typeface="Nokia Pure Text" panose="020B0503020202020204" pitchFamily="34" charset="0"/>
                <a:cs typeface="Nokia Pure Headline Light"/>
              </a:rPr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4722153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Overloading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1987BA-83BA-4A09-8008-740A854B86AB}"/>
              </a:ext>
            </a:extLst>
          </p:cNvPr>
          <p:cNvSpPr/>
          <p:nvPr/>
        </p:nvSpPr>
        <p:spPr>
          <a:xfrm rot="10800000" flipV="1">
            <a:off x="188996" y="3005033"/>
            <a:ext cx="87606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nheritance is the process of forming a new class from an existing class. The existing class is called base class and the new class is call derived class. 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 reason is to reuse the code functionality.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5AE6E5-096F-43A1-A650-F7FB95051D62}"/>
              </a:ext>
            </a:extLst>
          </p:cNvPr>
          <p:cNvSpPr/>
          <p:nvPr/>
        </p:nvSpPr>
        <p:spPr>
          <a:xfrm rot="10800000" flipV="1">
            <a:off x="188996" y="4010097"/>
            <a:ext cx="87606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Consider a real life example of a child, who has some properties like his father/mother, but not all (blood)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4C4B61-8E7D-46CC-BB0C-3837394EA6ED}"/>
              </a:ext>
            </a:extLst>
          </p:cNvPr>
          <p:cNvSpPr txBox="1">
            <a:spLocks/>
          </p:cNvSpPr>
          <p:nvPr/>
        </p:nvSpPr>
        <p:spPr bwMode="auto">
          <a:xfrm>
            <a:off x="188996" y="255335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Inheritance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3E899-6590-4CDB-AF72-1B36C88980D1}"/>
              </a:ext>
            </a:extLst>
          </p:cNvPr>
          <p:cNvSpPr/>
          <p:nvPr/>
        </p:nvSpPr>
        <p:spPr>
          <a:xfrm rot="10800000" flipV="1">
            <a:off x="188996" y="1455823"/>
            <a:ext cx="87606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A function’s signature includes the function’s name and the number, order and type of its parameters. The return value is  not part of a function’s signature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Two overloaded functions must not have the same signature!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B95FA-2E5D-44CB-B59A-821DB226E5BC}"/>
              </a:ext>
            </a:extLst>
          </p:cNvPr>
          <p:cNvSpPr/>
          <p:nvPr/>
        </p:nvSpPr>
        <p:spPr>
          <a:xfrm rot="10800000" flipV="1">
            <a:off x="188996" y="703660"/>
            <a:ext cx="87606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Overloading is a feature in C++ where two or more functions/operators can have the same name but different paramet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85079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5195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Type of accessors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F66B71-B05F-4EE0-9D88-87ACF2BA6A60}"/>
              </a:ext>
            </a:extLst>
          </p:cNvPr>
          <p:cNvSpPr/>
          <p:nvPr/>
        </p:nvSpPr>
        <p:spPr>
          <a:xfrm>
            <a:off x="321276" y="566278"/>
            <a:ext cx="8447040" cy="1287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public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privat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protect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27DCC8-D09C-4A88-A022-F96DEE80F240}"/>
              </a:ext>
            </a:extLst>
          </p:cNvPr>
          <p:cNvSpPr/>
          <p:nvPr/>
        </p:nvSpPr>
        <p:spPr>
          <a:xfrm rot="10800000" flipV="1">
            <a:off x="151956" y="1870196"/>
            <a:ext cx="88343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Class have by default private accessor, struct have public accessor </a:t>
            </a:r>
            <a:endParaRPr lang="en-US" dirty="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DFF8854D-048C-409E-AF94-B771BC5CE3E7}"/>
              </a:ext>
            </a:extLst>
          </p:cNvPr>
          <p:cNvSpPr txBox="1">
            <a:spLocks/>
          </p:cNvSpPr>
          <p:nvPr/>
        </p:nvSpPr>
        <p:spPr bwMode="auto">
          <a:xfrm>
            <a:off x="151956" y="2289533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const modifie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CC549D-9C6A-4435-BDCF-B1BBFBF00334}"/>
              </a:ext>
            </a:extLst>
          </p:cNvPr>
          <p:cNvSpPr/>
          <p:nvPr/>
        </p:nvSpPr>
        <p:spPr>
          <a:xfrm rot="10800000" flipV="1">
            <a:off x="151956" y="2795687"/>
            <a:ext cx="868257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class </a:t>
            </a:r>
            <a:r>
              <a:rPr lang="en-US" dirty="0" err="1">
                <a:solidFill>
                  <a:srgbClr val="000000"/>
                </a:solidFill>
                <a:latin typeface="DejaVuSans"/>
              </a:rPr>
              <a:t>MyString</a:t>
            </a:r>
            <a:endParaRPr lang="en-US" dirty="0">
              <a:solidFill>
                <a:srgbClr val="000000"/>
              </a:solidFill>
              <a:latin typeface="DejaVuSans"/>
            </a:endParaRP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{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public: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     int </a:t>
            </a:r>
            <a:r>
              <a:rPr lang="en-US" dirty="0" err="1">
                <a:solidFill>
                  <a:srgbClr val="000000"/>
                </a:solidFill>
                <a:latin typeface="DejaVuSans"/>
              </a:rPr>
              <a:t>getNumberOfChar</a:t>
            </a:r>
            <a:r>
              <a:rPr lang="en-US" dirty="0">
                <a:solidFill>
                  <a:srgbClr val="000000"/>
                </a:solidFill>
                <a:latin typeface="DejaVuSans"/>
              </a:rPr>
              <a:t>(const double x) const  {  return 5; // something to calculate}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private: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… // variable a, b, c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}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03129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5195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ea typeface="Nokia Pure Text" panose="020B0504040602060303" pitchFamily="34" charset="0"/>
              </a:rPr>
              <a:t>inline function modifier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27DCC8-D09C-4A88-A022-F96DEE80F240}"/>
              </a:ext>
            </a:extLst>
          </p:cNvPr>
          <p:cNvSpPr/>
          <p:nvPr/>
        </p:nvSpPr>
        <p:spPr>
          <a:xfrm rot="10800000" flipV="1">
            <a:off x="115121" y="700615"/>
            <a:ext cx="88343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nline modifier tells the compiler that function is expended inline, not actually called.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3D9ED0-E381-4824-825C-19808A83E0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784" y="1066487"/>
            <a:ext cx="5495925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75105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5195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Friend functions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27DCC8-D09C-4A88-A022-F96DEE80F240}"/>
              </a:ext>
            </a:extLst>
          </p:cNvPr>
          <p:cNvSpPr/>
          <p:nvPr/>
        </p:nvSpPr>
        <p:spPr>
          <a:xfrm rot="10800000" flipV="1">
            <a:off x="151956" y="702171"/>
            <a:ext cx="86604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It is possible to grand a nonmember function access to the private/protected members of a class by using friend keyword.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46FE1B-9D97-4A55-A21C-7B95CA6A54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87" y="1529001"/>
            <a:ext cx="3781425" cy="19431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B2A038-5B52-40DB-AD21-F174E70AB9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2176" y="1395651"/>
            <a:ext cx="3733800" cy="20764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F85162-DFC5-444B-9577-8D959A42A6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887" y="3652599"/>
            <a:ext cx="1981200" cy="104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73659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Static data members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B95FA-2E5D-44CB-B59A-821DB226E5BC}"/>
              </a:ext>
            </a:extLst>
          </p:cNvPr>
          <p:cNvSpPr/>
          <p:nvPr/>
        </p:nvSpPr>
        <p:spPr>
          <a:xfrm rot="10800000" flipV="1">
            <a:off x="248705" y="578028"/>
            <a:ext cx="8760692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Only one copy of variable exists, and all objects of the class will share that variable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When you declare a static data member within a class, you are not defining it (not allocating storage for it). You must provide a global definition for it elsewhere, outside the class.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A static variable exist before any object of its class is created.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FEE25F-0A08-43AF-B53E-2FEE988807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858" y="2066615"/>
            <a:ext cx="2857825" cy="25614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CA01BD-70FC-4417-8A66-1B1FFF03D6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9774" y="2066615"/>
            <a:ext cx="3855045" cy="206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6529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188996" y="164579"/>
            <a:ext cx="8760691" cy="3699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Nokia Pure Text" panose="020B0504040602060303" pitchFamily="34" charset="0"/>
              </a:rPr>
              <a:t>Static function members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DB95FA-2E5D-44CB-B59A-821DB226E5BC}"/>
              </a:ext>
            </a:extLst>
          </p:cNvPr>
          <p:cNvSpPr/>
          <p:nvPr/>
        </p:nvSpPr>
        <p:spPr>
          <a:xfrm rot="10800000" flipV="1">
            <a:off x="188996" y="853006"/>
            <a:ext cx="8760692" cy="9233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DejaVuSans"/>
              </a:rPr>
              <a:t>They may only directly refer to other static members of the class. </a:t>
            </a:r>
          </a:p>
          <a:p>
            <a:r>
              <a:rPr lang="en-US" dirty="0">
                <a:solidFill>
                  <a:srgbClr val="000000"/>
                </a:solidFill>
                <a:latin typeface="DejaVuSans"/>
              </a:rPr>
              <a:t>Use static for a function that logically belong to a class and this function does not access any member variable of this class.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F59BA6-900D-4416-B80C-21C362B863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033" y="1793570"/>
            <a:ext cx="4303308" cy="29241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6777C6B-7685-4FF2-BF85-D1ABD676D5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7537" y="1793570"/>
            <a:ext cx="3705945" cy="218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79504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Nokia PowerPoint Template Arial v25">
  <a:themeElements>
    <a:clrScheme name="Nokia 13.10">
      <a:dk1>
        <a:srgbClr val="124191"/>
      </a:dk1>
      <a:lt1>
        <a:srgbClr val="FFFFFF"/>
      </a:lt1>
      <a:dk2>
        <a:srgbClr val="FFFFFF"/>
      </a:dk2>
      <a:lt2>
        <a:srgbClr val="696C6F"/>
      </a:lt2>
      <a:accent1>
        <a:srgbClr val="A8BBC0"/>
      </a:accent1>
      <a:accent2>
        <a:srgbClr val="124191"/>
      </a:accent2>
      <a:accent3>
        <a:srgbClr val="00C9FF"/>
      </a:accent3>
      <a:accent4>
        <a:srgbClr val="124191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3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8D9DA"/>
        </a:solidFill>
        <a:ln w="28575" algn="ctr">
          <a:noFill/>
          <a:round/>
          <a:headEnd/>
          <a:tailEnd/>
        </a:ln>
        <a:effectLst/>
      </a:spPr>
      <a:bodyPr wrap="square" lIns="72562" tIns="36281" rIns="72562" bIns="36281"/>
      <a:lstStyle>
        <a:defPPr marL="68027" marR="0" indent="-68027" defTabSz="604684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itchFamily="34" charset="0"/>
          <a:buChar char="•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124191"/>
            </a:solidFill>
            <a:effectLst/>
            <a:uLnTx/>
            <a:uFillTx/>
            <a:latin typeface="Nokia Pure Text Light"/>
            <a:ea typeface="宋体" pitchFamily="2" charset="-122"/>
          </a:defRPr>
        </a:defPPr>
      </a:lst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13EB3C99-2858-4D2F-A434-81579CFF4845}"/>
    </a:ext>
  </a:extLst>
</a:theme>
</file>

<file path=ppt/theme/theme4.xml><?xml version="1.0" encoding="utf-8"?>
<a:theme xmlns:a="http://schemas.openxmlformats.org/drawingml/2006/main" name="Final Slide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02791CA6-8ABD-4CF1-8231-195341A502DA}"/>
    </a:ext>
  </a:extLst>
</a:theme>
</file>

<file path=ppt/theme/theme5.xml><?xml version="1.0" encoding="utf-8"?>
<a:theme xmlns:a="http://schemas.openxmlformats.org/drawingml/2006/main" name="blank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Nokia_Pure_Macro_Free_v51" id="{C604708E-A674-4B2C-AC98-8A2AEAAB84D5}" vid="{D3526DE6-1B3C-44E8-BC12-0D5F87E28AAB}"/>
    </a:ext>
  </a:extLst>
</a:theme>
</file>

<file path=ppt/theme/theme6.xml><?xml version="1.0" encoding="utf-8"?>
<a:theme xmlns:a="http://schemas.openxmlformats.org/drawingml/2006/main" name="3_PPT_Example_Newthem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8ED24D09-FD32-4636-A74B-E0307A050BA7}"/>
    </a:ext>
  </a:extLst>
</a:theme>
</file>

<file path=ppt/theme/theme7.xml><?xml version="1.0" encoding="utf-8"?>
<a:theme xmlns:a="http://schemas.openxmlformats.org/drawingml/2006/main" name="1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DF2304DB-DF66-4FFA-898B-C620F0E204D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3BE3FB56DF14A9E3DB607BD43A24E" ma:contentTypeVersion="11" ma:contentTypeDescription="Create a new document." ma:contentTypeScope="" ma:versionID="247fd2f5bd867cbae6059e3f401a500b">
  <xsd:schema xmlns:xsd="http://www.w3.org/2001/XMLSchema" xmlns:xs="http://www.w3.org/2001/XMLSchema" xmlns:p="http://schemas.microsoft.com/office/2006/metadata/properties" xmlns:ns2="71c5aaf6-e6ce-465b-b873-5148d2a4c105" xmlns:ns3="9e33f25c-8cd1-4a6d-95dc-5a26ca7ee67a" xmlns:ns4="4c8ae5d3-b0b5-4419-b593-bd2ec501d3f9" targetNamespace="http://schemas.microsoft.com/office/2006/metadata/properties" ma:root="true" ma:fieldsID="cc554efc6d66ec8560a2ce6196afcebd" ns2:_="" ns3:_="" ns4:_="">
    <xsd:import namespace="71c5aaf6-e6ce-465b-b873-5148d2a4c105"/>
    <xsd:import namespace="9e33f25c-8cd1-4a6d-95dc-5a26ca7ee67a"/>
    <xsd:import namespace="4c8ae5d3-b0b5-4419-b593-bd2ec501d3f9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33f25c-8cd1-4a6d-95dc-5a26ca7ee6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8ae5d3-b0b5-4419-b593-bd2ec501d3f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ideFromDelve xmlns="71c5aaf6-e6ce-465b-b873-5148d2a4c105">false</HideFromDelve>
    <_dlc_DocId xmlns="71c5aaf6-e6ce-465b-b873-5148d2a4c105">MNIPPTBI2B4O-1171742572-177</_dlc_DocId>
    <_dlc_DocIdUrl xmlns="71c5aaf6-e6ce-465b-b873-5148d2a4c105">
      <Url>https://nokia.sharepoint.com/sites/manofmrecovcode/_layouts/15/DocIdRedir.aspx?ID=MNIPPTBI2B4O-1171742572-177</Url>
      <Description>MNIPPTBI2B4O-1171742572-177</Description>
    </_dlc_DocIdUrl>
  </documentManagement>
</p:properties>
</file>

<file path=customXml/item3.xml><?xml version="1.0" encoding="utf-8"?>
<?mso-contentType ?>
<SharedContentType xmlns="Microsoft.SharePoint.Taxonomy.ContentTypeSync" SourceId="34c87397-5fc1-491e-85e7-d6110dbe9cbd" ContentTypeId="0x0101" PreviousValue="false"/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1666B3-D95E-4DEC-B786-865E32C56E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9e33f25c-8cd1-4a6d-95dc-5a26ca7ee67a"/>
    <ds:schemaRef ds:uri="4c8ae5d3-b0b5-4419-b593-bd2ec501d3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ED75C7-9F73-4DE4-A041-0D8B5ED316A0}">
  <ds:schemaRefs>
    <ds:schemaRef ds:uri="http://purl.org/dc/elements/1.1/"/>
    <ds:schemaRef ds:uri="http://schemas.microsoft.com/office/2006/metadata/properties"/>
    <ds:schemaRef ds:uri="2867b335-edfc-4c0d-9af5-910efa08fd08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http://purl.org/dc/terms/"/>
    <ds:schemaRef ds:uri="71c5aaf6-e6ce-465b-b873-5148d2a4c105"/>
  </ds:schemaRefs>
</ds:datastoreItem>
</file>

<file path=customXml/itemProps3.xml><?xml version="1.0" encoding="utf-8"?>
<ds:datastoreItem xmlns:ds="http://schemas.openxmlformats.org/officeDocument/2006/customXml" ds:itemID="{026F1231-20F3-4469-B20B-6C747B21F6A8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F82126A4-5E81-4B3D-840C-BF9349840AB1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539ABE08-4ECD-461D-BB48-199068739F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Arial v25</Template>
  <TotalTime>0</TotalTime>
  <Words>1440</Words>
  <Application>Microsoft Office PowerPoint</Application>
  <PresentationFormat>On-screen Show (16:9)</PresentationFormat>
  <Paragraphs>168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3" baseType="lpstr">
      <vt:lpstr>Arial</vt:lpstr>
      <vt:lpstr>Calibri</vt:lpstr>
      <vt:lpstr>DejaVuSans</vt:lpstr>
      <vt:lpstr>Lucida Grande</vt:lpstr>
      <vt:lpstr>Nokia Pure Headline Light</vt:lpstr>
      <vt:lpstr>Nokia Pure Headline Ultra Light</vt:lpstr>
      <vt:lpstr>Nokia Pure Text Light</vt:lpstr>
      <vt:lpstr>Nokia PowerPoint Template Arial v25</vt:lpstr>
      <vt:lpstr>Nokia Master Blue Background</vt:lpstr>
      <vt:lpstr>CORP_PPT_Temp_Pure_V31</vt:lpstr>
      <vt:lpstr>Final Slide</vt:lpstr>
      <vt:lpstr>blank</vt:lpstr>
      <vt:lpstr>3_PPT_Example_Newtheme_v30</vt:lpstr>
      <vt:lpstr>1_Nokia Master Blue Background</vt:lpstr>
      <vt:lpstr>think-cell Slide</vt:lpstr>
      <vt:lpstr>Classes in C++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es in C++</dc:title>
  <dc:creator/>
  <cp:lastModifiedBy/>
  <cp:revision>57</cp:revision>
  <dcterms:created xsi:type="dcterms:W3CDTF">2014-05-26T09:55:58Z</dcterms:created>
  <dcterms:modified xsi:type="dcterms:W3CDTF">2022-11-15T08:0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A9C3BE3FB56DF14A9E3DB607BD43A24E</vt:lpwstr>
  </property>
  <property fmtid="{D5CDD505-2E9C-101B-9397-08002B2CF9AE}" pid="4" name="_NewReviewCycle">
    <vt:lpwstr/>
  </property>
  <property fmtid="{D5CDD505-2E9C-101B-9397-08002B2CF9AE}" pid="5" name="_AdHocReviewCycleID">
    <vt:i4>-1145824879</vt:i4>
  </property>
  <property fmtid="{D5CDD505-2E9C-101B-9397-08002B2CF9AE}" pid="6" name="_dlc_DocIdItemGuid">
    <vt:lpwstr>3920d36d-b616-4635-bdc0-02a8fc28f987</vt:lpwstr>
  </property>
</Properties>
</file>